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5"/>
  </p:notesMasterIdLst>
  <p:sldIdLst>
    <p:sldId id="308" r:id="rId5"/>
    <p:sldId id="282" r:id="rId6"/>
    <p:sldId id="281" r:id="rId7"/>
    <p:sldId id="290" r:id="rId8"/>
    <p:sldId id="302" r:id="rId9"/>
    <p:sldId id="291" r:id="rId10"/>
    <p:sldId id="293" r:id="rId11"/>
    <p:sldId id="305" r:id="rId12"/>
    <p:sldId id="295" r:id="rId13"/>
    <p:sldId id="303" r:id="rId14"/>
    <p:sldId id="304" r:id="rId15"/>
    <p:sldId id="306" r:id="rId16"/>
    <p:sldId id="294" r:id="rId17"/>
    <p:sldId id="307" r:id="rId18"/>
    <p:sldId id="292" r:id="rId19"/>
    <p:sldId id="298" r:id="rId20"/>
    <p:sldId id="301" r:id="rId21"/>
    <p:sldId id="299" r:id="rId22"/>
    <p:sldId id="288" r:id="rId23"/>
    <p:sldId id="268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00"/>
    <a:srgbClr val="BA2D2D"/>
    <a:srgbClr val="191970"/>
    <a:srgbClr val="FFC4BD"/>
    <a:srgbClr val="F9EB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71E356-2D55-4EC2-96DE-583FF76CC90E}" v="11341" dt="2022-02-12T21:50:01.3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e M Petersen" userId="6fc7cfdc-6116-41d4-9a87-1fac2e25d9fb" providerId="ADAL" clId="{8371E356-2D55-4EC2-96DE-583FF76CC90E}"/>
    <pc:docChg chg="undo redo custSel addSld delSld modSld sldOrd">
      <pc:chgData name="Julie M Petersen" userId="6fc7cfdc-6116-41d4-9a87-1fac2e25d9fb" providerId="ADAL" clId="{8371E356-2D55-4EC2-96DE-583FF76CC90E}" dt="2022-02-12T21:49:52.421" v="6538" actId="478"/>
      <pc:docMkLst>
        <pc:docMk/>
      </pc:docMkLst>
      <pc:sldChg chg="del">
        <pc:chgData name="Julie M Petersen" userId="6fc7cfdc-6116-41d4-9a87-1fac2e25d9fb" providerId="ADAL" clId="{8371E356-2D55-4EC2-96DE-583FF76CC90E}" dt="2022-02-12T21:40:45.237" v="6009" actId="47"/>
        <pc:sldMkLst>
          <pc:docMk/>
          <pc:sldMk cId="2259308896" sldId="256"/>
        </pc:sldMkLst>
      </pc:sldChg>
      <pc:sldChg chg="del ord">
        <pc:chgData name="Julie M Petersen" userId="6fc7cfdc-6116-41d4-9a87-1fac2e25d9fb" providerId="ADAL" clId="{8371E356-2D55-4EC2-96DE-583FF76CC90E}" dt="2022-02-12T21:49:43.851" v="6532" actId="47"/>
        <pc:sldMkLst>
          <pc:docMk/>
          <pc:sldMk cId="1325608595" sldId="257"/>
        </pc:sldMkLst>
      </pc:sldChg>
      <pc:sldChg chg="del">
        <pc:chgData name="Julie M Petersen" userId="6fc7cfdc-6116-41d4-9a87-1fac2e25d9fb" providerId="ADAL" clId="{8371E356-2D55-4EC2-96DE-583FF76CC90E}" dt="2022-02-12T21:49:43.432" v="6531" actId="47"/>
        <pc:sldMkLst>
          <pc:docMk/>
          <pc:sldMk cId="3446797337" sldId="259"/>
        </pc:sldMkLst>
      </pc:sldChg>
      <pc:sldChg chg="del">
        <pc:chgData name="Julie M Petersen" userId="6fc7cfdc-6116-41d4-9a87-1fac2e25d9fb" providerId="ADAL" clId="{8371E356-2D55-4EC2-96DE-583FF76CC90E}" dt="2022-02-11T21:53:33.909" v="3236" actId="47"/>
        <pc:sldMkLst>
          <pc:docMk/>
          <pc:sldMk cId="4212917468" sldId="260"/>
        </pc:sldMkLst>
      </pc:sldChg>
      <pc:sldChg chg="del">
        <pc:chgData name="Julie M Petersen" userId="6fc7cfdc-6116-41d4-9a87-1fac2e25d9fb" providerId="ADAL" clId="{8371E356-2D55-4EC2-96DE-583FF76CC90E}" dt="2022-02-10T17:29:09.046" v="411" actId="47"/>
        <pc:sldMkLst>
          <pc:docMk/>
          <pc:sldMk cId="1527386939" sldId="261"/>
        </pc:sldMkLst>
      </pc:sldChg>
      <pc:sldChg chg="del">
        <pc:chgData name="Julie M Petersen" userId="6fc7cfdc-6116-41d4-9a87-1fac2e25d9fb" providerId="ADAL" clId="{8371E356-2D55-4EC2-96DE-583FF76CC90E}" dt="2022-02-12T21:39:53.699" v="5731" actId="47"/>
        <pc:sldMkLst>
          <pc:docMk/>
          <pc:sldMk cId="554560724" sldId="262"/>
        </pc:sldMkLst>
      </pc:sldChg>
      <pc:sldChg chg="addSp delSp modSp del mod ord">
        <pc:chgData name="Julie M Petersen" userId="6fc7cfdc-6116-41d4-9a87-1fac2e25d9fb" providerId="ADAL" clId="{8371E356-2D55-4EC2-96DE-583FF76CC90E}" dt="2022-02-11T18:13:01.665" v="1068" actId="47"/>
        <pc:sldMkLst>
          <pc:docMk/>
          <pc:sldMk cId="700209266" sldId="264"/>
        </pc:sldMkLst>
        <pc:spChg chg="mod">
          <ac:chgData name="Julie M Petersen" userId="6fc7cfdc-6116-41d4-9a87-1fac2e25d9fb" providerId="ADAL" clId="{8371E356-2D55-4EC2-96DE-583FF76CC90E}" dt="2022-02-11T06:24:43.952" v="714" actId="948"/>
          <ac:spMkLst>
            <pc:docMk/>
            <pc:sldMk cId="700209266" sldId="264"/>
            <ac:spMk id="2" creationId="{DD0B6389-2374-4677-B8BB-59410CCC32FD}"/>
          </ac:spMkLst>
        </pc:spChg>
        <pc:spChg chg="add del mod modVis">
          <ac:chgData name="Julie M Petersen" userId="6fc7cfdc-6116-41d4-9a87-1fac2e25d9fb" providerId="ADAL" clId="{8371E356-2D55-4EC2-96DE-583FF76CC90E}" dt="2022-02-11T06:24:44.043" v="753"/>
          <ac:spMkLst>
            <pc:docMk/>
            <pc:sldMk cId="700209266" sldId="264"/>
            <ac:spMk id="6" creationId="{7647D326-8A22-4FE8-A5FB-FBB282C4F8C1}"/>
          </ac:spMkLst>
        </pc:spChg>
        <pc:spChg chg="mod">
          <ac:chgData name="Julie M Petersen" userId="6fc7cfdc-6116-41d4-9a87-1fac2e25d9fb" providerId="ADAL" clId="{8371E356-2D55-4EC2-96DE-583FF76CC90E}" dt="2022-02-10T17:28:20.450" v="370" actId="207"/>
          <ac:spMkLst>
            <pc:docMk/>
            <pc:sldMk cId="700209266" sldId="264"/>
            <ac:spMk id="8" creationId="{6146D639-1AF7-9544-89CB-5863F22FD6AD}"/>
          </ac:spMkLst>
        </pc:spChg>
        <pc:spChg chg="mod">
          <ac:chgData name="Julie M Petersen" userId="6fc7cfdc-6116-41d4-9a87-1fac2e25d9fb" providerId="ADAL" clId="{8371E356-2D55-4EC2-96DE-583FF76CC90E}" dt="2022-02-11T06:25:45.069" v="790" actId="20577"/>
          <ac:spMkLst>
            <pc:docMk/>
            <pc:sldMk cId="700209266" sldId="264"/>
            <ac:spMk id="10" creationId="{21CB4AB2-9E97-4D40-B2F1-A3F55B1E9090}"/>
          </ac:spMkLst>
        </pc:spChg>
        <pc:spChg chg="mod">
          <ac:chgData name="Julie M Petersen" userId="6fc7cfdc-6116-41d4-9a87-1fac2e25d9fb" providerId="ADAL" clId="{8371E356-2D55-4EC2-96DE-583FF76CC90E}" dt="2022-02-11T06:25:15.187" v="780" actId="20577"/>
          <ac:spMkLst>
            <pc:docMk/>
            <pc:sldMk cId="700209266" sldId="264"/>
            <ac:spMk id="13" creationId="{4F701027-0723-2745-B4FC-2C8285C84695}"/>
          </ac:spMkLst>
        </pc:spChg>
        <pc:spChg chg="mod">
          <ac:chgData name="Julie M Petersen" userId="6fc7cfdc-6116-41d4-9a87-1fac2e25d9fb" providerId="ADAL" clId="{8371E356-2D55-4EC2-96DE-583FF76CC90E}" dt="2022-02-11T06:36:35.939" v="1021" actId="20577"/>
          <ac:spMkLst>
            <pc:docMk/>
            <pc:sldMk cId="700209266" sldId="264"/>
            <ac:spMk id="15" creationId="{660246C7-7995-0849-8AB1-B92F4280EC69}"/>
          </ac:spMkLst>
        </pc:spChg>
        <pc:spChg chg="mod">
          <ac:chgData name="Julie M Petersen" userId="6fc7cfdc-6116-41d4-9a87-1fac2e25d9fb" providerId="ADAL" clId="{8371E356-2D55-4EC2-96DE-583FF76CC90E}" dt="2022-02-11T06:36:27.490" v="992" actId="6549"/>
          <ac:spMkLst>
            <pc:docMk/>
            <pc:sldMk cId="700209266" sldId="264"/>
            <ac:spMk id="17" creationId="{D26DEB4E-5043-BB4F-B5CF-C6E87E8F4DA3}"/>
          </ac:spMkLst>
        </pc:spChg>
        <pc:spChg chg="mod">
          <ac:chgData name="Julie M Petersen" userId="6fc7cfdc-6116-41d4-9a87-1fac2e25d9fb" providerId="ADAL" clId="{8371E356-2D55-4EC2-96DE-583FF76CC90E}" dt="2022-02-10T17:28:22.611" v="371" actId="207"/>
          <ac:spMkLst>
            <pc:docMk/>
            <pc:sldMk cId="700209266" sldId="264"/>
            <ac:spMk id="24" creationId="{BE89FC0C-3836-4F41-9CFB-1BEB1426FBD7}"/>
          </ac:spMkLst>
        </pc:spChg>
        <pc:grpChg chg="mod">
          <ac:chgData name="Julie M Petersen" userId="6fc7cfdc-6116-41d4-9a87-1fac2e25d9fb" providerId="ADAL" clId="{8371E356-2D55-4EC2-96DE-583FF76CC90E}" dt="2022-02-11T06:24:37.808" v="712" actId="14100"/>
          <ac:grpSpMkLst>
            <pc:docMk/>
            <pc:sldMk cId="700209266" sldId="264"/>
            <ac:grpSpMk id="33" creationId="{A412E4A9-3648-4DA1-82CA-DF09C858D1F9}"/>
          </ac:grpSpMkLst>
        </pc:grpChg>
        <pc:graphicFrameChg chg="mod">
          <ac:chgData name="Julie M Petersen" userId="6fc7cfdc-6116-41d4-9a87-1fac2e25d9fb" providerId="ADAL" clId="{8371E356-2D55-4EC2-96DE-583FF76CC90E}" dt="2022-02-11T06:24:44.046" v="755"/>
          <ac:graphicFrameMkLst>
            <pc:docMk/>
            <pc:sldMk cId="700209266" sldId="264"/>
            <ac:graphicFrameMk id="11" creationId="{E0EADA70-ED6A-4864-A03F-007C5A1134ED}"/>
          </ac:graphicFrameMkLst>
        </pc:graphicFrameChg>
      </pc:sldChg>
      <pc:sldChg chg="del">
        <pc:chgData name="Julie M Petersen" userId="6fc7cfdc-6116-41d4-9a87-1fac2e25d9fb" providerId="ADAL" clId="{8371E356-2D55-4EC2-96DE-583FF76CC90E}" dt="2022-02-12T21:49:44.174" v="6533" actId="47"/>
        <pc:sldMkLst>
          <pc:docMk/>
          <pc:sldMk cId="2563119616" sldId="265"/>
        </pc:sldMkLst>
      </pc:sldChg>
      <pc:sldChg chg="del">
        <pc:chgData name="Julie M Petersen" userId="6fc7cfdc-6116-41d4-9a87-1fac2e25d9fb" providerId="ADAL" clId="{8371E356-2D55-4EC2-96DE-583FF76CC90E}" dt="2022-02-12T21:49:44.506" v="6534" actId="47"/>
        <pc:sldMkLst>
          <pc:docMk/>
          <pc:sldMk cId="2721508595" sldId="266"/>
        </pc:sldMkLst>
      </pc:sldChg>
      <pc:sldChg chg="del ord">
        <pc:chgData name="Julie M Petersen" userId="6fc7cfdc-6116-41d4-9a87-1fac2e25d9fb" providerId="ADAL" clId="{8371E356-2D55-4EC2-96DE-583FF76CC90E}" dt="2022-02-12T21:39:52.262" v="5729" actId="47"/>
        <pc:sldMkLst>
          <pc:docMk/>
          <pc:sldMk cId="445070695" sldId="267"/>
        </pc:sldMkLst>
      </pc:sldChg>
      <pc:sldChg chg="addSp delSp modSp add del mod">
        <pc:chgData name="Julie M Petersen" userId="6fc7cfdc-6116-41d4-9a87-1fac2e25d9fb" providerId="ADAL" clId="{8371E356-2D55-4EC2-96DE-583FF76CC90E}" dt="2022-02-12T21:49:52.421" v="6538" actId="478"/>
        <pc:sldMkLst>
          <pc:docMk/>
          <pc:sldMk cId="3103683689" sldId="268"/>
        </pc:sldMkLst>
        <pc:spChg chg="del">
          <ac:chgData name="Julie M Petersen" userId="6fc7cfdc-6116-41d4-9a87-1fac2e25d9fb" providerId="ADAL" clId="{8371E356-2D55-4EC2-96DE-583FF76CC90E}" dt="2022-02-12T21:49:50.837" v="6537" actId="478"/>
          <ac:spMkLst>
            <pc:docMk/>
            <pc:sldMk cId="3103683689" sldId="268"/>
            <ac:spMk id="3" creationId="{BABC2CE0-8806-4B2A-A10A-32984D317434}"/>
          </ac:spMkLst>
        </pc:spChg>
        <pc:spChg chg="add del mod">
          <ac:chgData name="Julie M Petersen" userId="6fc7cfdc-6116-41d4-9a87-1fac2e25d9fb" providerId="ADAL" clId="{8371E356-2D55-4EC2-96DE-583FF76CC90E}" dt="2022-02-12T21:49:52.421" v="6538" actId="478"/>
          <ac:spMkLst>
            <pc:docMk/>
            <pc:sldMk cId="3103683689" sldId="268"/>
            <ac:spMk id="5" creationId="{6322367C-9FCE-48EA-8857-4291825A619F}"/>
          </ac:spMkLst>
        </pc:spChg>
      </pc:sldChg>
      <pc:sldChg chg="del">
        <pc:chgData name="Julie M Petersen" userId="6fc7cfdc-6116-41d4-9a87-1fac2e25d9fb" providerId="ADAL" clId="{8371E356-2D55-4EC2-96DE-583FF76CC90E}" dt="2022-02-12T21:39:54.171" v="5732" actId="47"/>
        <pc:sldMkLst>
          <pc:docMk/>
          <pc:sldMk cId="932498405" sldId="270"/>
        </pc:sldMkLst>
      </pc:sldChg>
      <pc:sldChg chg="addSp delSp modSp del mod">
        <pc:chgData name="Julie M Petersen" userId="6fc7cfdc-6116-41d4-9a87-1fac2e25d9fb" providerId="ADAL" clId="{8371E356-2D55-4EC2-96DE-583FF76CC90E}" dt="2022-02-12T19:31:42.170" v="4471" actId="47"/>
        <pc:sldMkLst>
          <pc:docMk/>
          <pc:sldMk cId="235482887" sldId="272"/>
        </pc:sldMkLst>
        <pc:spChg chg="del">
          <ac:chgData name="Julie M Petersen" userId="6fc7cfdc-6116-41d4-9a87-1fac2e25d9fb" providerId="ADAL" clId="{8371E356-2D55-4EC2-96DE-583FF76CC90E}" dt="2022-02-12T10:31:49.725" v="4020" actId="478"/>
          <ac:spMkLst>
            <pc:docMk/>
            <pc:sldMk cId="235482887" sldId="272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10:31:49.725" v="4020" actId="478"/>
          <ac:spMkLst>
            <pc:docMk/>
            <pc:sldMk cId="235482887" sldId="272"/>
            <ac:spMk id="5" creationId="{8C503702-AE9F-514C-8035-3C03A5CAD9AE}"/>
          </ac:spMkLst>
        </pc:spChg>
        <pc:spChg chg="del mod">
          <ac:chgData name="Julie M Petersen" userId="6fc7cfdc-6116-41d4-9a87-1fac2e25d9fb" providerId="ADAL" clId="{8371E356-2D55-4EC2-96DE-583FF76CC90E}" dt="2022-02-11T21:41:42.191" v="3012" actId="478"/>
          <ac:spMkLst>
            <pc:docMk/>
            <pc:sldMk cId="235482887" sldId="272"/>
            <ac:spMk id="7" creationId="{580BCE82-B6F3-4EAF-A1AA-CE6CA094AB3D}"/>
          </ac:spMkLst>
        </pc:spChg>
        <pc:spChg chg="add del mod">
          <ac:chgData name="Julie M Petersen" userId="6fc7cfdc-6116-41d4-9a87-1fac2e25d9fb" providerId="ADAL" clId="{8371E356-2D55-4EC2-96DE-583FF76CC90E}" dt="2022-02-10T17:29:40.284" v="433" actId="21"/>
          <ac:spMkLst>
            <pc:docMk/>
            <pc:sldMk cId="235482887" sldId="272"/>
            <ac:spMk id="8" creationId="{5A8BA9E3-C842-4890-A6DB-1C5B80FB4CAB}"/>
          </ac:spMkLst>
        </pc:spChg>
        <pc:spChg chg="add del mod">
          <ac:chgData name="Julie M Petersen" userId="6fc7cfdc-6116-41d4-9a87-1fac2e25d9fb" providerId="ADAL" clId="{8371E356-2D55-4EC2-96DE-583FF76CC90E}" dt="2022-02-11T18:17:07.979" v="1190" actId="478"/>
          <ac:spMkLst>
            <pc:docMk/>
            <pc:sldMk cId="235482887" sldId="272"/>
            <ac:spMk id="9" creationId="{3DBA967D-C848-4FB9-94DC-FD178CA5ACC3}"/>
          </ac:spMkLst>
        </pc:spChg>
        <pc:spChg chg="add mod">
          <ac:chgData name="Julie M Petersen" userId="6fc7cfdc-6116-41d4-9a87-1fac2e25d9fb" providerId="ADAL" clId="{8371E356-2D55-4EC2-96DE-583FF76CC90E}" dt="2022-02-11T18:15:38.478" v="1170" actId="20577"/>
          <ac:spMkLst>
            <pc:docMk/>
            <pc:sldMk cId="235482887" sldId="272"/>
            <ac:spMk id="11" creationId="{01F25430-63FB-469A-8CED-950DFA7FC1FA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2" creationId="{C083D675-62CA-4FD5-9E4E-3C772268C76D}"/>
          </ac:spMkLst>
        </pc:spChg>
        <pc:spChg chg="add del mod">
          <ac:chgData name="Julie M Petersen" userId="6fc7cfdc-6116-41d4-9a87-1fac2e25d9fb" providerId="ADAL" clId="{8371E356-2D55-4EC2-96DE-583FF76CC90E}" dt="2022-02-11T18:15:54.817" v="1178" actId="478"/>
          <ac:spMkLst>
            <pc:docMk/>
            <pc:sldMk cId="235482887" sldId="272"/>
            <ac:spMk id="13" creationId="{20D90A80-F5BE-446D-90C2-0EA438783EEB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4" creationId="{53F9CD1C-EFA9-486A-95F5-2A6D322ACB59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5" creationId="{4CBF594C-D146-4745-8676-2AC94FE733CA}"/>
          </ac:spMkLst>
        </pc:spChg>
        <pc:spChg chg="add del mod">
          <ac:chgData name="Julie M Petersen" userId="6fc7cfdc-6116-41d4-9a87-1fac2e25d9fb" providerId="ADAL" clId="{8371E356-2D55-4EC2-96DE-583FF76CC90E}" dt="2022-02-11T21:43:52.770" v="3050" actId="6549"/>
          <ac:spMkLst>
            <pc:docMk/>
            <pc:sldMk cId="235482887" sldId="272"/>
            <ac:spMk id="18" creationId="{D06B3EB6-4EEE-49CB-AFC4-6EE2EE56EB8F}"/>
          </ac:spMkLst>
        </pc:spChg>
        <pc:spChg chg="add mod">
          <ac:chgData name="Julie M Petersen" userId="6fc7cfdc-6116-41d4-9a87-1fac2e25d9fb" providerId="ADAL" clId="{8371E356-2D55-4EC2-96DE-583FF76CC90E}" dt="2022-02-12T10:31:37.314" v="4019" actId="20577"/>
          <ac:spMkLst>
            <pc:docMk/>
            <pc:sldMk cId="235482887" sldId="272"/>
            <ac:spMk id="23" creationId="{D81B495B-81C2-4F2D-A638-5623064821B0}"/>
          </ac:spMkLst>
        </pc:spChg>
        <pc:spChg chg="add mod">
          <ac:chgData name="Julie M Petersen" userId="6fc7cfdc-6116-41d4-9a87-1fac2e25d9fb" providerId="ADAL" clId="{8371E356-2D55-4EC2-96DE-583FF76CC90E}" dt="2022-02-11T21:41:53.840" v="3017" actId="1076"/>
          <ac:spMkLst>
            <pc:docMk/>
            <pc:sldMk cId="235482887" sldId="272"/>
            <ac:spMk id="24" creationId="{E34E4666-4CB3-4286-8238-4A31708AA1B0}"/>
          </ac:spMkLst>
        </pc:spChg>
        <pc:spChg chg="add mod">
          <ac:chgData name="Julie M Petersen" userId="6fc7cfdc-6116-41d4-9a87-1fac2e25d9fb" providerId="ADAL" clId="{8371E356-2D55-4EC2-96DE-583FF76CC90E}" dt="2022-02-11T21:42:07.120" v="3019" actId="1076"/>
          <ac:spMkLst>
            <pc:docMk/>
            <pc:sldMk cId="235482887" sldId="272"/>
            <ac:spMk id="25" creationId="{48E6CFEE-0447-40CE-A8E9-5CB223F0048A}"/>
          </ac:spMkLst>
        </pc:spChg>
        <pc:spChg chg="add del mod">
          <ac:chgData name="Julie M Petersen" userId="6fc7cfdc-6116-41d4-9a87-1fac2e25d9fb" providerId="ADAL" clId="{8371E356-2D55-4EC2-96DE-583FF76CC90E}" dt="2022-02-11T21:41:46.966" v="3013" actId="478"/>
          <ac:spMkLst>
            <pc:docMk/>
            <pc:sldMk cId="235482887" sldId="272"/>
            <ac:spMk id="26" creationId="{A57FE692-E6BD-419B-B4B9-ADF3E2B64E65}"/>
          </ac:spMkLst>
        </pc:spChg>
        <pc:picChg chg="add mod modCrop">
          <ac:chgData name="Julie M Petersen" userId="6fc7cfdc-6116-41d4-9a87-1fac2e25d9fb" providerId="ADAL" clId="{8371E356-2D55-4EC2-96DE-583FF76CC90E}" dt="2022-02-11T21:41:55.782" v="3018" actId="1076"/>
          <ac:picMkLst>
            <pc:docMk/>
            <pc:sldMk cId="235482887" sldId="272"/>
            <ac:picMk id="4" creationId="{0A62F03A-275B-4D01-8C2D-1DFF9AB81189}"/>
          </ac:picMkLst>
        </pc:picChg>
        <pc:picChg chg="add del mod modCrop">
          <ac:chgData name="Julie M Petersen" userId="6fc7cfdc-6116-41d4-9a87-1fac2e25d9fb" providerId="ADAL" clId="{8371E356-2D55-4EC2-96DE-583FF76CC90E}" dt="2022-02-11T21:00:12.315" v="2206" actId="478"/>
          <ac:picMkLst>
            <pc:docMk/>
            <pc:sldMk cId="235482887" sldId="272"/>
            <ac:picMk id="16" creationId="{F422A931-5F9B-4FFB-A256-AD79424EAA8C}"/>
          </ac:picMkLst>
        </pc:picChg>
        <pc:picChg chg="add del mod modCrop">
          <ac:chgData name="Julie M Petersen" userId="6fc7cfdc-6116-41d4-9a87-1fac2e25d9fb" providerId="ADAL" clId="{8371E356-2D55-4EC2-96DE-583FF76CC90E}" dt="2022-02-11T21:00:14.824" v="2207" actId="478"/>
          <ac:picMkLst>
            <pc:docMk/>
            <pc:sldMk cId="235482887" sldId="272"/>
            <ac:picMk id="19" creationId="{72D96B7E-6987-4985-9291-BD96ADA2DECC}"/>
          </ac:picMkLst>
        </pc:picChg>
        <pc:picChg chg="add mod">
          <ac:chgData name="Julie M Petersen" userId="6fc7cfdc-6116-41d4-9a87-1fac2e25d9fb" providerId="ADAL" clId="{8371E356-2D55-4EC2-96DE-583FF76CC90E}" dt="2022-02-11T21:42:27.159" v="3024" actId="1076"/>
          <ac:picMkLst>
            <pc:docMk/>
            <pc:sldMk cId="235482887" sldId="272"/>
            <ac:picMk id="21" creationId="{98474684-A106-4ABC-B391-C20BA8FE500F}"/>
          </ac:picMkLst>
        </pc:picChg>
        <pc:picChg chg="add mod modCrop">
          <ac:chgData name="Julie M Petersen" userId="6fc7cfdc-6116-41d4-9a87-1fac2e25d9fb" providerId="ADAL" clId="{8371E356-2D55-4EC2-96DE-583FF76CC90E}" dt="2022-02-11T21:43:33.123" v="3046" actId="1076"/>
          <ac:picMkLst>
            <pc:docMk/>
            <pc:sldMk cId="235482887" sldId="272"/>
            <ac:picMk id="28" creationId="{A9799994-66B5-4678-B496-2C3C02CF0874}"/>
          </ac:picMkLst>
        </pc:picChg>
        <pc:picChg chg="add mod">
          <ac:chgData name="Julie M Petersen" userId="6fc7cfdc-6116-41d4-9a87-1fac2e25d9fb" providerId="ADAL" clId="{8371E356-2D55-4EC2-96DE-583FF76CC90E}" dt="2022-02-11T21:43:30.118" v="3045" actId="1076"/>
          <ac:picMkLst>
            <pc:docMk/>
            <pc:sldMk cId="235482887" sldId="272"/>
            <ac:picMk id="3074" creationId="{97D1F908-6E8B-4224-95E6-336284D0DBEC}"/>
          </ac:picMkLst>
        </pc:picChg>
        <pc:cxnChg chg="add del">
          <ac:chgData name="Julie M Petersen" userId="6fc7cfdc-6116-41d4-9a87-1fac2e25d9fb" providerId="ADAL" clId="{8371E356-2D55-4EC2-96DE-583FF76CC90E}" dt="2022-02-11T21:43:34.711" v="3047" actId="478"/>
          <ac:cxnSpMkLst>
            <pc:docMk/>
            <pc:sldMk cId="235482887" sldId="272"/>
            <ac:cxnSpMk id="29" creationId="{8753DCC8-BB68-44C3-832D-F84C412D52A9}"/>
          </ac:cxnSpMkLst>
        </pc:cxnChg>
        <pc:cxnChg chg="add">
          <ac:chgData name="Julie M Petersen" userId="6fc7cfdc-6116-41d4-9a87-1fac2e25d9fb" providerId="ADAL" clId="{8371E356-2D55-4EC2-96DE-583FF76CC90E}" dt="2022-02-11T21:43:40.788" v="3048" actId="11529"/>
          <ac:cxnSpMkLst>
            <pc:docMk/>
            <pc:sldMk cId="235482887" sldId="272"/>
            <ac:cxnSpMk id="31" creationId="{4165AB39-F33D-4799-BECD-412F4A0F5611}"/>
          </ac:cxnSpMkLst>
        </pc:cxnChg>
      </pc:sldChg>
      <pc:sldChg chg="addSp delSp modSp del mod">
        <pc:chgData name="Julie M Petersen" userId="6fc7cfdc-6116-41d4-9a87-1fac2e25d9fb" providerId="ADAL" clId="{8371E356-2D55-4EC2-96DE-583FF76CC90E}" dt="2022-02-11T21:47:30.593" v="3129" actId="47"/>
        <pc:sldMkLst>
          <pc:docMk/>
          <pc:sldMk cId="1615137063" sldId="275"/>
        </pc:sldMkLst>
        <pc:spChg chg="del mod">
          <ac:chgData name="Julie M Petersen" userId="6fc7cfdc-6116-41d4-9a87-1fac2e25d9fb" providerId="ADAL" clId="{8371E356-2D55-4EC2-96DE-583FF76CC90E}" dt="2022-02-11T18:29:27.867" v="1526" actId="931"/>
          <ac:spMkLst>
            <pc:docMk/>
            <pc:sldMk cId="1615137063" sldId="275"/>
            <ac:spMk id="7" creationId="{580BCE82-B6F3-4EAF-A1AA-CE6CA094AB3D}"/>
          </ac:spMkLst>
        </pc:spChg>
        <pc:spChg chg="add mod">
          <ac:chgData name="Julie M Petersen" userId="6fc7cfdc-6116-41d4-9a87-1fac2e25d9fb" providerId="ADAL" clId="{8371E356-2D55-4EC2-96DE-583FF76CC90E}" dt="2022-02-11T21:46:47.236" v="3103" actId="313"/>
          <ac:spMkLst>
            <pc:docMk/>
            <pc:sldMk cId="1615137063" sldId="275"/>
            <ac:spMk id="8" creationId="{04AE4038-4E1A-4260-92A8-9F7765409173}"/>
          </ac:spMkLst>
        </pc:spChg>
        <pc:spChg chg="add del mod">
          <ac:chgData name="Julie M Petersen" userId="6fc7cfdc-6116-41d4-9a87-1fac2e25d9fb" providerId="ADAL" clId="{8371E356-2D55-4EC2-96DE-583FF76CC90E}" dt="2022-02-11T18:17:13.129" v="1192" actId="478"/>
          <ac:spMkLst>
            <pc:docMk/>
            <pc:sldMk cId="1615137063" sldId="275"/>
            <ac:spMk id="9" creationId="{8AA85B79-2229-47D3-86F0-E3FDD3737471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1" creationId="{AA468CE3-3390-470D-A2F3-6E79701752A4}"/>
          </ac:spMkLst>
        </pc:spChg>
        <pc:spChg chg="add mod">
          <ac:chgData name="Julie M Petersen" userId="6fc7cfdc-6116-41d4-9a87-1fac2e25d9fb" providerId="ADAL" clId="{8371E356-2D55-4EC2-96DE-583FF76CC90E}" dt="2022-02-11T18:16:05.496" v="1179"/>
          <ac:spMkLst>
            <pc:docMk/>
            <pc:sldMk cId="1615137063" sldId="275"/>
            <ac:spMk id="12" creationId="{4CC95E2E-7501-429C-B46F-7EEDA007F98C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3" creationId="{94790C6E-9A39-48AA-8D07-698A9FB7B1AB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4" creationId="{665066CC-42B1-4C09-B0D2-9C1245186AF4}"/>
          </ac:spMkLst>
        </pc:spChg>
        <pc:spChg chg="add del mod">
          <ac:chgData name="Julie M Petersen" userId="6fc7cfdc-6116-41d4-9a87-1fac2e25d9fb" providerId="ADAL" clId="{8371E356-2D55-4EC2-96DE-583FF76CC90E}" dt="2022-02-11T18:36:30.644" v="1595" actId="21"/>
          <ac:spMkLst>
            <pc:docMk/>
            <pc:sldMk cId="1615137063" sldId="275"/>
            <ac:spMk id="15" creationId="{92BC861B-B9EA-4808-9DA3-E0D0CB8E050E}"/>
          </ac:spMkLst>
        </pc:spChg>
        <pc:spChg chg="add mod">
          <ac:chgData name="Julie M Petersen" userId="6fc7cfdc-6116-41d4-9a87-1fac2e25d9fb" providerId="ADAL" clId="{8371E356-2D55-4EC2-96DE-583FF76CC90E}" dt="2022-02-11T18:37:32.873" v="1600"/>
          <ac:spMkLst>
            <pc:docMk/>
            <pc:sldMk cId="1615137063" sldId="275"/>
            <ac:spMk id="16" creationId="{293EEB67-FB7B-4CB1-9E18-D0D97A0D4F70}"/>
          </ac:spMkLst>
        </pc:spChg>
        <pc:spChg chg="add mod">
          <ac:chgData name="Julie M Petersen" userId="6fc7cfdc-6116-41d4-9a87-1fac2e25d9fb" providerId="ADAL" clId="{8371E356-2D55-4EC2-96DE-583FF76CC90E}" dt="2022-02-11T18:37:40.105" v="1602" actId="1076"/>
          <ac:spMkLst>
            <pc:docMk/>
            <pc:sldMk cId="1615137063" sldId="275"/>
            <ac:spMk id="17" creationId="{6B97EE10-6D57-4C58-99E5-94C7331002B6}"/>
          </ac:spMkLst>
        </pc:spChg>
        <pc:spChg chg="del">
          <ac:chgData name="Julie M Petersen" userId="6fc7cfdc-6116-41d4-9a87-1fac2e25d9fb" providerId="ADAL" clId="{8371E356-2D55-4EC2-96DE-583FF76CC90E}" dt="2022-02-10T17:29:56.580" v="437" actId="478"/>
          <ac:spMkLst>
            <pc:docMk/>
            <pc:sldMk cId="1615137063" sldId="275"/>
            <ac:spMk id="18" creationId="{D06B3EB6-4EEE-49CB-AFC4-6EE2EE56EB8F}"/>
          </ac:spMkLst>
        </pc:spChg>
        <pc:spChg chg="add del mod">
          <ac:chgData name="Julie M Petersen" userId="6fc7cfdc-6116-41d4-9a87-1fac2e25d9fb" providerId="ADAL" clId="{8371E356-2D55-4EC2-96DE-583FF76CC90E}" dt="2022-02-11T21:03:12.930" v="2217" actId="931"/>
          <ac:spMkLst>
            <pc:docMk/>
            <pc:sldMk cId="1615137063" sldId="275"/>
            <ac:spMk id="19" creationId="{4AC1C25B-B36E-4492-808C-A56CA982F569}"/>
          </ac:spMkLst>
        </pc:spChg>
        <pc:spChg chg="add del mod">
          <ac:chgData name="Julie M Petersen" userId="6fc7cfdc-6116-41d4-9a87-1fac2e25d9fb" providerId="ADAL" clId="{8371E356-2D55-4EC2-96DE-583FF76CC90E}" dt="2022-02-11T21:04:30.921" v="2225" actId="931"/>
          <ac:spMkLst>
            <pc:docMk/>
            <pc:sldMk cId="1615137063" sldId="275"/>
            <ac:spMk id="23" creationId="{7FFAA46F-CA33-4189-A7BF-23EC179EEEB3}"/>
          </ac:spMkLst>
        </pc:spChg>
        <pc:picChg chg="add del mod">
          <ac:chgData name="Julie M Petersen" userId="6fc7cfdc-6116-41d4-9a87-1fac2e25d9fb" providerId="ADAL" clId="{8371E356-2D55-4EC2-96DE-583FF76CC90E}" dt="2022-02-11T21:02:58.366" v="2216" actId="478"/>
          <ac:picMkLst>
            <pc:docMk/>
            <pc:sldMk cId="1615137063" sldId="275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21:04:15.045" v="2224" actId="478"/>
          <ac:picMkLst>
            <pc:docMk/>
            <pc:sldMk cId="1615137063" sldId="275"/>
            <ac:picMk id="21" creationId="{83D4FB28-CA3F-4BE2-9538-EE67DD9D88BE}"/>
          </ac:picMkLst>
        </pc:picChg>
        <pc:picChg chg="add mod">
          <ac:chgData name="Julie M Petersen" userId="6fc7cfdc-6116-41d4-9a87-1fac2e25d9fb" providerId="ADAL" clId="{8371E356-2D55-4EC2-96DE-583FF76CC90E}" dt="2022-02-11T21:46:27.170" v="3098" actId="1076"/>
          <ac:picMkLst>
            <pc:docMk/>
            <pc:sldMk cId="1615137063" sldId="275"/>
            <ac:picMk id="25" creationId="{9797E9E9-ABA6-4E74-9812-6D4D0738715C}"/>
          </ac:picMkLst>
        </pc:picChg>
        <pc:picChg chg="add mod">
          <ac:chgData name="Julie M Petersen" userId="6fc7cfdc-6116-41d4-9a87-1fac2e25d9fb" providerId="ADAL" clId="{8371E356-2D55-4EC2-96DE-583FF76CC90E}" dt="2022-02-11T21:46:34.525" v="3102" actId="1076"/>
          <ac:picMkLst>
            <pc:docMk/>
            <pc:sldMk cId="1615137063" sldId="275"/>
            <ac:picMk id="27" creationId="{3772426B-2A4C-439E-B735-3C34EFC09A18}"/>
          </ac:picMkLst>
        </pc:picChg>
        <pc:picChg chg="add mod">
          <ac:chgData name="Julie M Petersen" userId="6fc7cfdc-6116-41d4-9a87-1fac2e25d9fb" providerId="ADAL" clId="{8371E356-2D55-4EC2-96DE-583FF76CC90E}" dt="2022-02-11T21:46:29.509" v="3100" actId="1076"/>
          <ac:picMkLst>
            <pc:docMk/>
            <pc:sldMk cId="1615137063" sldId="275"/>
            <ac:picMk id="29" creationId="{4A887161-581B-4EC3-A4F8-A22E73B1BC44}"/>
          </ac:picMkLst>
        </pc:picChg>
      </pc:sldChg>
      <pc:sldChg chg="addSp delSp modSp del mod">
        <pc:chgData name="Julie M Petersen" userId="6fc7cfdc-6116-41d4-9a87-1fac2e25d9fb" providerId="ADAL" clId="{8371E356-2D55-4EC2-96DE-583FF76CC90E}" dt="2022-02-11T22:14:17.182" v="3558" actId="47"/>
        <pc:sldMkLst>
          <pc:docMk/>
          <pc:sldMk cId="1011883352" sldId="276"/>
        </pc:sldMkLst>
        <pc:spChg chg="add del mod">
          <ac:chgData name="Julie M Petersen" userId="6fc7cfdc-6116-41d4-9a87-1fac2e25d9fb" providerId="ADAL" clId="{8371E356-2D55-4EC2-96DE-583FF76CC90E}" dt="2022-02-11T21:34:37.270" v="2530" actId="478"/>
          <ac:spMkLst>
            <pc:docMk/>
            <pc:sldMk cId="1011883352" sldId="276"/>
            <ac:spMk id="2" creationId="{F3B4A880-4232-4273-A95E-036EC4CFA74D}"/>
          </ac:spMkLst>
        </pc:spChg>
        <pc:spChg chg="del mod">
          <ac:chgData name="Julie M Petersen" userId="6fc7cfdc-6116-41d4-9a87-1fac2e25d9fb" providerId="ADAL" clId="{8371E356-2D55-4EC2-96DE-583FF76CC90E}" dt="2022-02-11T21:55:35.716" v="3283" actId="478"/>
          <ac:spMkLst>
            <pc:docMk/>
            <pc:sldMk cId="1011883352" sldId="276"/>
            <ac:spMk id="7" creationId="{580BCE82-B6F3-4EAF-A1AA-CE6CA094AB3D}"/>
          </ac:spMkLst>
        </pc:spChg>
        <pc:spChg chg="add del mod">
          <ac:chgData name="Julie M Petersen" userId="6fc7cfdc-6116-41d4-9a87-1fac2e25d9fb" providerId="ADAL" clId="{8371E356-2D55-4EC2-96DE-583FF76CC90E}" dt="2022-02-11T21:34:43.473" v="2531" actId="478"/>
          <ac:spMkLst>
            <pc:docMk/>
            <pc:sldMk cId="1011883352" sldId="276"/>
            <ac:spMk id="8" creationId="{F4A99D62-5AB5-44F3-90DF-A211F8AD8637}"/>
          </ac:spMkLst>
        </pc:spChg>
        <pc:spChg chg="add del mod">
          <ac:chgData name="Julie M Petersen" userId="6fc7cfdc-6116-41d4-9a87-1fac2e25d9fb" providerId="ADAL" clId="{8371E356-2D55-4EC2-96DE-583FF76CC90E}" dt="2022-02-11T18:17:16.720" v="1194" actId="478"/>
          <ac:spMkLst>
            <pc:docMk/>
            <pc:sldMk cId="1011883352" sldId="276"/>
            <ac:spMk id="9" creationId="{8030B983-59B5-4689-9305-E34B993C7FF4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1" creationId="{523DA019-9314-4E62-978E-7C92F1E19722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2" creationId="{7A6891D8-1CB6-4004-9809-FCD2EDE53A00}"/>
          </ac:spMkLst>
        </pc:spChg>
        <pc:spChg chg="add mod">
          <ac:chgData name="Julie M Petersen" userId="6fc7cfdc-6116-41d4-9a87-1fac2e25d9fb" providerId="ADAL" clId="{8371E356-2D55-4EC2-96DE-583FF76CC90E}" dt="2022-02-11T18:16:07.060" v="1180"/>
          <ac:spMkLst>
            <pc:docMk/>
            <pc:sldMk cId="1011883352" sldId="276"/>
            <ac:spMk id="13" creationId="{24644187-F50A-410A-9589-E52AEAE3C6F7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4" creationId="{CB8826C4-A153-4650-987B-88BC78B6E9FA}"/>
          </ac:spMkLst>
        </pc:spChg>
        <pc:spChg chg="add mod">
          <ac:chgData name="Julie M Petersen" userId="6fc7cfdc-6116-41d4-9a87-1fac2e25d9fb" providerId="ADAL" clId="{8371E356-2D55-4EC2-96DE-583FF76CC90E}" dt="2022-02-11T21:58:08.359" v="3383" actId="1076"/>
          <ac:spMkLst>
            <pc:docMk/>
            <pc:sldMk cId="1011883352" sldId="276"/>
            <ac:spMk id="15" creationId="{66DD2F3A-D933-4680-B7AA-5D0E3437AF6A}"/>
          </ac:spMkLst>
        </pc:spChg>
        <pc:spChg chg="add del mod">
          <ac:chgData name="Julie M Petersen" userId="6fc7cfdc-6116-41d4-9a87-1fac2e25d9fb" providerId="ADAL" clId="{8371E356-2D55-4EC2-96DE-583FF76CC90E}" dt="2022-02-11T21:56:56.656" v="3369" actId="478"/>
          <ac:spMkLst>
            <pc:docMk/>
            <pc:sldMk cId="1011883352" sldId="276"/>
            <ac:spMk id="16" creationId="{376D6712-8CE5-4B26-AC8B-6605DFD250B0}"/>
          </ac:spMkLst>
        </pc:spChg>
        <pc:spChg chg="add del mod">
          <ac:chgData name="Julie M Petersen" userId="6fc7cfdc-6116-41d4-9a87-1fac2e25d9fb" providerId="ADAL" clId="{8371E356-2D55-4EC2-96DE-583FF76CC90E}" dt="2022-02-11T21:54:35.198" v="3239"/>
          <ac:spMkLst>
            <pc:docMk/>
            <pc:sldMk cId="1011883352" sldId="276"/>
            <ac:spMk id="17" creationId="{BFC5288F-83B6-4AF7-9519-930D20EC56CF}"/>
          </ac:spMkLst>
        </pc:spChg>
        <pc:spChg chg="del">
          <ac:chgData name="Julie M Petersen" userId="6fc7cfdc-6116-41d4-9a87-1fac2e25d9fb" providerId="ADAL" clId="{8371E356-2D55-4EC2-96DE-583FF76CC90E}" dt="2022-02-10T17:29:59.662" v="439" actId="478"/>
          <ac:spMkLst>
            <pc:docMk/>
            <pc:sldMk cId="1011883352" sldId="276"/>
            <ac:spMk id="18" creationId="{D06B3EB6-4EEE-49CB-AFC4-6EE2EE56EB8F}"/>
          </ac:spMkLst>
        </pc:spChg>
        <pc:spChg chg="add del mod">
          <ac:chgData name="Julie M Petersen" userId="6fc7cfdc-6116-41d4-9a87-1fac2e25d9fb" providerId="ADAL" clId="{8371E356-2D55-4EC2-96DE-583FF76CC90E}" dt="2022-02-11T22:03:17.880" v="3463" actId="478"/>
          <ac:spMkLst>
            <pc:docMk/>
            <pc:sldMk cId="1011883352" sldId="276"/>
            <ac:spMk id="18" creationId="{D89C593A-5585-4479-8D82-208AD34E6EB9}"/>
          </ac:spMkLst>
        </pc:spChg>
        <pc:spChg chg="add del mod">
          <ac:chgData name="Julie M Petersen" userId="6fc7cfdc-6116-41d4-9a87-1fac2e25d9fb" providerId="ADAL" clId="{8371E356-2D55-4EC2-96DE-583FF76CC90E}" dt="2022-02-11T22:03:18.472" v="3464" actId="478"/>
          <ac:spMkLst>
            <pc:docMk/>
            <pc:sldMk cId="1011883352" sldId="276"/>
            <ac:spMk id="19" creationId="{83FC96EC-6978-4FE1-9149-5BEB138C9877}"/>
          </ac:spMkLst>
        </pc:spChg>
        <pc:spChg chg="add del mod">
          <ac:chgData name="Julie M Petersen" userId="6fc7cfdc-6116-41d4-9a87-1fac2e25d9fb" providerId="ADAL" clId="{8371E356-2D55-4EC2-96DE-583FF76CC90E}" dt="2022-02-11T21:55:37.925" v="3284" actId="478"/>
          <ac:spMkLst>
            <pc:docMk/>
            <pc:sldMk cId="1011883352" sldId="276"/>
            <ac:spMk id="20" creationId="{0DDDF300-1E29-4FE3-A20A-59F9786EF8FF}"/>
          </ac:spMkLst>
        </pc:spChg>
        <pc:spChg chg="add del mod">
          <ac:chgData name="Julie M Petersen" userId="6fc7cfdc-6116-41d4-9a87-1fac2e25d9fb" providerId="ADAL" clId="{8371E356-2D55-4EC2-96DE-583FF76CC90E}" dt="2022-02-11T21:56:29.243" v="3334"/>
          <ac:spMkLst>
            <pc:docMk/>
            <pc:sldMk cId="1011883352" sldId="276"/>
            <ac:spMk id="21" creationId="{B2F63C2F-59F1-4903-B75D-DC4D77567744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2" creationId="{078D6843-85AD-4E3B-A977-644D1AE748EC}"/>
          </ac:spMkLst>
        </pc:spChg>
        <pc:spChg chg="add mod">
          <ac:chgData name="Julie M Petersen" userId="6fc7cfdc-6116-41d4-9a87-1fac2e25d9fb" providerId="ADAL" clId="{8371E356-2D55-4EC2-96DE-583FF76CC90E}" dt="2022-02-11T22:05:01.680" v="3498" actId="14100"/>
          <ac:spMkLst>
            <pc:docMk/>
            <pc:sldMk cId="1011883352" sldId="276"/>
            <ac:spMk id="23" creationId="{FCAD53A5-045A-4381-8322-85F86FA1C92A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4" creationId="{94DC8908-576C-4958-BA0C-2CDC54E0FBCC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5" creationId="{E892D85B-2260-41BE-9143-A16657CA7D64}"/>
          </ac:spMkLst>
        </pc:spChg>
        <pc:spChg chg="add mod">
          <ac:chgData name="Julie M Petersen" userId="6fc7cfdc-6116-41d4-9a87-1fac2e25d9fb" providerId="ADAL" clId="{8371E356-2D55-4EC2-96DE-583FF76CC90E}" dt="2022-02-11T22:05:02.372" v="3499" actId="1076"/>
          <ac:spMkLst>
            <pc:docMk/>
            <pc:sldMk cId="1011883352" sldId="276"/>
            <ac:spMk id="26" creationId="{C3E3F465-6FCE-45B5-8C29-97AD0061AC39}"/>
          </ac:spMkLst>
        </pc:spChg>
        <pc:spChg chg="add mod">
          <ac:chgData name="Julie M Petersen" userId="6fc7cfdc-6116-41d4-9a87-1fac2e25d9fb" providerId="ADAL" clId="{8371E356-2D55-4EC2-96DE-583FF76CC90E}" dt="2022-02-11T21:59:24.608" v="3416" actId="1076"/>
          <ac:spMkLst>
            <pc:docMk/>
            <pc:sldMk cId="1011883352" sldId="276"/>
            <ac:spMk id="27" creationId="{7C4D3C34-E748-4626-909D-415CB56092A8}"/>
          </ac:spMkLst>
        </pc:spChg>
        <pc:spChg chg="add mod">
          <ac:chgData name="Julie M Petersen" userId="6fc7cfdc-6116-41d4-9a87-1fac2e25d9fb" providerId="ADAL" clId="{8371E356-2D55-4EC2-96DE-583FF76CC90E}" dt="2022-02-11T21:59:24.608" v="3416" actId="1076"/>
          <ac:spMkLst>
            <pc:docMk/>
            <pc:sldMk cId="1011883352" sldId="276"/>
            <ac:spMk id="28" creationId="{75A563F9-60E4-4AEE-92C5-D4FB37AE8AC5}"/>
          </ac:spMkLst>
        </pc:spChg>
        <pc:spChg chg="add mod">
          <ac:chgData name="Julie M Petersen" userId="6fc7cfdc-6116-41d4-9a87-1fac2e25d9fb" providerId="ADAL" clId="{8371E356-2D55-4EC2-96DE-583FF76CC90E}" dt="2022-02-11T22:03:24.621" v="3465" actId="1076"/>
          <ac:spMkLst>
            <pc:docMk/>
            <pc:sldMk cId="1011883352" sldId="276"/>
            <ac:spMk id="29" creationId="{75C3CF07-FFC2-4E2F-9A24-6ED0896816D0}"/>
          </ac:spMkLst>
        </pc:spChg>
        <pc:spChg chg="add mod">
          <ac:chgData name="Julie M Petersen" userId="6fc7cfdc-6116-41d4-9a87-1fac2e25d9fb" providerId="ADAL" clId="{8371E356-2D55-4EC2-96DE-583FF76CC90E}" dt="2022-02-11T22:05:05.136" v="3500" actId="14100"/>
          <ac:spMkLst>
            <pc:docMk/>
            <pc:sldMk cId="1011883352" sldId="276"/>
            <ac:spMk id="30" creationId="{0161D9A4-2036-41DA-BCEB-98B4F9496C66}"/>
          </ac:spMkLst>
        </pc:spChg>
        <pc:spChg chg="add mod">
          <ac:chgData name="Julie M Petersen" userId="6fc7cfdc-6116-41d4-9a87-1fac2e25d9fb" providerId="ADAL" clId="{8371E356-2D55-4EC2-96DE-583FF76CC90E}" dt="2022-02-11T22:02:33.333" v="3451" actId="1076"/>
          <ac:spMkLst>
            <pc:docMk/>
            <pc:sldMk cId="1011883352" sldId="276"/>
            <ac:spMk id="31" creationId="{706B9BBA-8BAE-4EEB-A0A5-1B119265CA2D}"/>
          </ac:spMkLst>
        </pc:spChg>
        <pc:spChg chg="add mod">
          <ac:chgData name="Julie M Petersen" userId="6fc7cfdc-6116-41d4-9a87-1fac2e25d9fb" providerId="ADAL" clId="{8371E356-2D55-4EC2-96DE-583FF76CC90E}" dt="2022-02-11T22:03:30.678" v="3467" actId="113"/>
          <ac:spMkLst>
            <pc:docMk/>
            <pc:sldMk cId="1011883352" sldId="276"/>
            <ac:spMk id="32" creationId="{A41CD79B-35B0-468C-905B-E1F45AB75E14}"/>
          </ac:spMkLst>
        </pc:spChg>
        <pc:spChg chg="add mod">
          <ac:chgData name="Julie M Petersen" userId="6fc7cfdc-6116-41d4-9a87-1fac2e25d9fb" providerId="ADAL" clId="{8371E356-2D55-4EC2-96DE-583FF76CC90E}" dt="2022-02-11T22:03:24.621" v="3465" actId="1076"/>
          <ac:spMkLst>
            <pc:docMk/>
            <pc:sldMk cId="1011883352" sldId="276"/>
            <ac:spMk id="36" creationId="{38C84068-A726-43A8-A7AD-B562E55AE2B9}"/>
          </ac:spMkLst>
        </pc:spChg>
        <pc:spChg chg="add mod">
          <ac:chgData name="Julie M Petersen" userId="6fc7cfdc-6116-41d4-9a87-1fac2e25d9fb" providerId="ADAL" clId="{8371E356-2D55-4EC2-96DE-583FF76CC90E}" dt="2022-02-11T22:04:44.681" v="3497" actId="1076"/>
          <ac:spMkLst>
            <pc:docMk/>
            <pc:sldMk cId="1011883352" sldId="276"/>
            <ac:spMk id="48" creationId="{56807A0A-F73E-49CB-8F18-E0A50A7CAA25}"/>
          </ac:spMkLst>
        </pc:spChg>
        <pc:picChg chg="add del mod">
          <ac:chgData name="Julie M Petersen" userId="6fc7cfdc-6116-41d4-9a87-1fac2e25d9fb" providerId="ADAL" clId="{8371E356-2D55-4EC2-96DE-583FF76CC90E}" dt="2022-02-11T21:53:03.998" v="3235" actId="478"/>
          <ac:picMkLst>
            <pc:docMk/>
            <pc:sldMk cId="1011883352" sldId="276"/>
            <ac:picMk id="4099" creationId="{0695A025-A6CF-4035-96B5-C0703DD76F46}"/>
          </ac:picMkLst>
        </pc:picChg>
        <pc:picChg chg="add mod">
          <ac:chgData name="Julie M Petersen" userId="6fc7cfdc-6116-41d4-9a87-1fac2e25d9fb" providerId="ADAL" clId="{8371E356-2D55-4EC2-96DE-583FF76CC90E}" dt="2022-02-11T22:00:19.705" v="3430" actId="1076"/>
          <ac:picMkLst>
            <pc:docMk/>
            <pc:sldMk cId="1011883352" sldId="276"/>
            <ac:picMk id="4101" creationId="{7D101466-56C2-4CA0-92B0-3262B29B1232}"/>
          </ac:picMkLst>
        </pc:picChg>
        <pc:picChg chg="add mod">
          <ac:chgData name="Julie M Petersen" userId="6fc7cfdc-6116-41d4-9a87-1fac2e25d9fb" providerId="ADAL" clId="{8371E356-2D55-4EC2-96DE-583FF76CC90E}" dt="2022-02-11T22:01:39.968" v="3446" actId="1076"/>
          <ac:picMkLst>
            <pc:docMk/>
            <pc:sldMk cId="1011883352" sldId="276"/>
            <ac:picMk id="4103" creationId="{12ECE2B7-024E-4602-BEE7-E973BA4688C0}"/>
          </ac:picMkLst>
        </pc:picChg>
        <pc:cxnChg chg="add mod">
          <ac:chgData name="Julie M Petersen" userId="6fc7cfdc-6116-41d4-9a87-1fac2e25d9fb" providerId="ADAL" clId="{8371E356-2D55-4EC2-96DE-583FF76CC90E}" dt="2022-02-11T22:04:01.600" v="3470" actId="693"/>
          <ac:cxnSpMkLst>
            <pc:docMk/>
            <pc:sldMk cId="1011883352" sldId="276"/>
            <ac:cxnSpMk id="34" creationId="{D31363D3-E7FC-4AB8-9CDD-6B87404ECBC9}"/>
          </ac:cxnSpMkLst>
        </pc:cxnChg>
        <pc:cxnChg chg="add mod">
          <ac:chgData name="Julie M Petersen" userId="6fc7cfdc-6116-41d4-9a87-1fac2e25d9fb" providerId="ADAL" clId="{8371E356-2D55-4EC2-96DE-583FF76CC90E}" dt="2022-02-11T22:04:06.886" v="3473" actId="14100"/>
          <ac:cxnSpMkLst>
            <pc:docMk/>
            <pc:sldMk cId="1011883352" sldId="276"/>
            <ac:cxnSpMk id="39" creationId="{3A6DF7BB-FAE7-4680-8073-CE3434629E62}"/>
          </ac:cxnSpMkLst>
        </pc:cxnChg>
        <pc:cxnChg chg="add mod">
          <ac:chgData name="Julie M Petersen" userId="6fc7cfdc-6116-41d4-9a87-1fac2e25d9fb" providerId="ADAL" clId="{8371E356-2D55-4EC2-96DE-583FF76CC90E}" dt="2022-02-11T22:04:11.689" v="3476" actId="14100"/>
          <ac:cxnSpMkLst>
            <pc:docMk/>
            <pc:sldMk cId="1011883352" sldId="276"/>
            <ac:cxnSpMk id="42" creationId="{0F3012C7-60CB-46BE-B248-9F1B06CA197C}"/>
          </ac:cxnSpMkLst>
        </pc:cxnChg>
        <pc:cxnChg chg="add mod">
          <ac:chgData name="Julie M Petersen" userId="6fc7cfdc-6116-41d4-9a87-1fac2e25d9fb" providerId="ADAL" clId="{8371E356-2D55-4EC2-96DE-583FF76CC90E}" dt="2022-02-11T22:04:15.681" v="3479" actId="14100"/>
          <ac:cxnSpMkLst>
            <pc:docMk/>
            <pc:sldMk cId="1011883352" sldId="276"/>
            <ac:cxnSpMk id="45" creationId="{3D2447AA-C2AB-463C-861C-D1AF81ACB013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1T23:21:17.116" v="3876" actId="47"/>
        <pc:sldMkLst>
          <pc:docMk/>
          <pc:sldMk cId="1860838255" sldId="277"/>
        </pc:sldMkLst>
        <pc:spChg chg="del mod">
          <ac:chgData name="Julie M Petersen" userId="6fc7cfdc-6116-41d4-9a87-1fac2e25d9fb" providerId="ADAL" clId="{8371E356-2D55-4EC2-96DE-583FF76CC90E}" dt="2022-02-11T21:26:43.682" v="2346" actId="931"/>
          <ac:spMkLst>
            <pc:docMk/>
            <pc:sldMk cId="1860838255" sldId="277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18:17:21.820" v="1197" actId="1076"/>
          <ac:spMkLst>
            <pc:docMk/>
            <pc:sldMk cId="1860838255" sldId="277"/>
            <ac:spMk id="8" creationId="{F4A99D62-5AB5-44F3-90DF-A211F8AD8637}"/>
          </ac:spMkLst>
        </pc:spChg>
        <pc:spChg chg="del mod">
          <ac:chgData name="Julie M Petersen" userId="6fc7cfdc-6116-41d4-9a87-1fac2e25d9fb" providerId="ADAL" clId="{8371E356-2D55-4EC2-96DE-583FF76CC90E}" dt="2022-02-11T18:17:20.052" v="1196" actId="478"/>
          <ac:spMkLst>
            <pc:docMk/>
            <pc:sldMk cId="1860838255" sldId="277"/>
            <ac:spMk id="9" creationId="{8030B983-59B5-4689-9305-E34B993C7FF4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1" creationId="{E9732BA9-005C-47F5-B7F9-DD01E9143A47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2" creationId="{EFA9B014-F969-46A6-88D3-CA18735ADA73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3" creationId="{534BECD5-E379-4E59-97B6-5D7FABFB494E}"/>
          </ac:spMkLst>
        </pc:spChg>
        <pc:spChg chg="add mod">
          <ac:chgData name="Julie M Petersen" userId="6fc7cfdc-6116-41d4-9a87-1fac2e25d9fb" providerId="ADAL" clId="{8371E356-2D55-4EC2-96DE-583FF76CC90E}" dt="2022-02-11T18:16:08.029" v="1181"/>
          <ac:spMkLst>
            <pc:docMk/>
            <pc:sldMk cId="1860838255" sldId="277"/>
            <ac:spMk id="14" creationId="{F8DB765B-2A1B-4E33-955D-0FC896FD7F5E}"/>
          </ac:spMkLst>
        </pc:spChg>
        <pc:spChg chg="add del mod">
          <ac:chgData name="Julie M Petersen" userId="6fc7cfdc-6116-41d4-9a87-1fac2e25d9fb" providerId="ADAL" clId="{8371E356-2D55-4EC2-96DE-583FF76CC90E}" dt="2022-02-11T23:19:43.345" v="3814" actId="478"/>
          <ac:spMkLst>
            <pc:docMk/>
            <pc:sldMk cId="1860838255" sldId="277"/>
            <ac:spMk id="15" creationId="{0D5E3AA0-6B68-4F47-88FB-1DDEEE2E64C8}"/>
          </ac:spMkLst>
        </pc:spChg>
        <pc:spChg chg="add del mod">
          <ac:chgData name="Julie M Petersen" userId="6fc7cfdc-6116-41d4-9a87-1fac2e25d9fb" providerId="ADAL" clId="{8371E356-2D55-4EC2-96DE-583FF76CC90E}" dt="2022-02-11T21:28:38.876" v="2354" actId="931"/>
          <ac:spMkLst>
            <pc:docMk/>
            <pc:sldMk cId="1860838255" sldId="277"/>
            <ac:spMk id="16" creationId="{6E047F9D-36F2-4CFB-8AB6-5FC05FCC3F3F}"/>
          </ac:spMkLst>
        </pc:spChg>
        <pc:picChg chg="add del mod modCrop">
          <ac:chgData name="Julie M Petersen" userId="6fc7cfdc-6116-41d4-9a87-1fac2e25d9fb" providerId="ADAL" clId="{8371E356-2D55-4EC2-96DE-583FF76CC90E}" dt="2022-02-11T21:28:31.856" v="2353" actId="478"/>
          <ac:picMkLst>
            <pc:docMk/>
            <pc:sldMk cId="1860838255" sldId="277"/>
            <ac:picMk id="4" creationId="{699C531B-CB0A-4D01-A2CA-1CCCF937B515}"/>
          </ac:picMkLst>
        </pc:picChg>
        <pc:picChg chg="add mod">
          <ac:chgData name="Julie M Petersen" userId="6fc7cfdc-6116-41d4-9a87-1fac2e25d9fb" providerId="ADAL" clId="{8371E356-2D55-4EC2-96DE-583FF76CC90E}" dt="2022-02-11T23:19:44.995" v="3815" actId="1076"/>
          <ac:picMkLst>
            <pc:docMk/>
            <pc:sldMk cId="1860838255" sldId="277"/>
            <ac:picMk id="18" creationId="{38B3238B-1E95-4EB2-8CA1-110B36F020A6}"/>
          </ac:picMkLst>
        </pc:picChg>
      </pc:sldChg>
      <pc:sldChg chg="modSp add del mod ord setBg">
        <pc:chgData name="Julie M Petersen" userId="6fc7cfdc-6116-41d4-9a87-1fac2e25d9fb" providerId="ADAL" clId="{8371E356-2D55-4EC2-96DE-583FF76CC90E}" dt="2022-02-11T18:13:18.739" v="1072" actId="47"/>
        <pc:sldMkLst>
          <pc:docMk/>
          <pc:sldMk cId="2739294870" sldId="278"/>
        </pc:sldMkLst>
        <pc:spChg chg="mod">
          <ac:chgData name="Julie M Petersen" userId="6fc7cfdc-6116-41d4-9a87-1fac2e25d9fb" providerId="ADAL" clId="{8371E356-2D55-4EC2-96DE-583FF76CC90E}" dt="2022-02-10T17:32:47.809" v="530" actId="207"/>
          <ac:spMkLst>
            <pc:docMk/>
            <pc:sldMk cId="2739294870" sldId="278"/>
            <ac:spMk id="8" creationId="{6146D639-1AF7-9544-89CB-5863F22FD6AD}"/>
          </ac:spMkLst>
        </pc:spChg>
        <pc:spChg chg="mod">
          <ac:chgData name="Julie M Petersen" userId="6fc7cfdc-6116-41d4-9a87-1fac2e25d9fb" providerId="ADAL" clId="{8371E356-2D55-4EC2-96DE-583FF76CC90E}" dt="2022-02-10T17:32:57.213" v="532" actId="207"/>
          <ac:spMkLst>
            <pc:docMk/>
            <pc:sldMk cId="2739294870" sldId="278"/>
            <ac:spMk id="24" creationId="{BE89FC0C-3836-4F41-9CFB-1BEB1426FBD7}"/>
          </ac:spMkLst>
        </pc:spChg>
      </pc:sldChg>
      <pc:sldChg chg="addSp delSp modSp add del mod setBg">
        <pc:chgData name="Julie M Petersen" userId="6fc7cfdc-6116-41d4-9a87-1fac2e25d9fb" providerId="ADAL" clId="{8371E356-2D55-4EC2-96DE-583FF76CC90E}" dt="2022-02-12T21:39:53.062" v="5730" actId="47"/>
        <pc:sldMkLst>
          <pc:docMk/>
          <pc:sldMk cId="1168289130" sldId="279"/>
        </pc:sldMkLst>
        <pc:spChg chg="mod">
          <ac:chgData name="Julie M Petersen" userId="6fc7cfdc-6116-41d4-9a87-1fac2e25d9fb" providerId="ADAL" clId="{8371E356-2D55-4EC2-96DE-583FF76CC90E}" dt="2022-02-10T17:33:47.423" v="654" actId="948"/>
          <ac:spMkLst>
            <pc:docMk/>
            <pc:sldMk cId="1168289130" sldId="279"/>
            <ac:spMk id="2" creationId="{DD0B6389-2374-4677-B8BB-59410CCC32FD}"/>
          </ac:spMkLst>
        </pc:spChg>
        <pc:spChg chg="add del mod modVis">
          <ac:chgData name="Julie M Petersen" userId="6fc7cfdc-6116-41d4-9a87-1fac2e25d9fb" providerId="ADAL" clId="{8371E356-2D55-4EC2-96DE-583FF76CC90E}" dt="2022-02-10T17:33:44.838" v="599"/>
          <ac:spMkLst>
            <pc:docMk/>
            <pc:sldMk cId="1168289130" sldId="279"/>
            <ac:spMk id="6" creationId="{F2D91207-FF8F-4258-88CA-E66CF1C948B0}"/>
          </ac:spMkLst>
        </pc:spChg>
        <pc:spChg chg="add del mod modVis">
          <ac:chgData name="Julie M Petersen" userId="6fc7cfdc-6116-41d4-9a87-1fac2e25d9fb" providerId="ADAL" clId="{8371E356-2D55-4EC2-96DE-583FF76CC90E}" dt="2022-02-10T17:33:45.989" v="644"/>
          <ac:spMkLst>
            <pc:docMk/>
            <pc:sldMk cId="1168289130" sldId="279"/>
            <ac:spMk id="7" creationId="{DFD41D00-F62A-4BCC-A029-94573D406E66}"/>
          </ac:spMkLst>
        </pc:spChg>
        <pc:spChg chg="add del mod modVis">
          <ac:chgData name="Julie M Petersen" userId="6fc7cfdc-6116-41d4-9a87-1fac2e25d9fb" providerId="ADAL" clId="{8371E356-2D55-4EC2-96DE-583FF76CC90E}" dt="2022-02-10T17:33:47.461" v="693"/>
          <ac:spMkLst>
            <pc:docMk/>
            <pc:sldMk cId="1168289130" sldId="279"/>
            <ac:spMk id="19" creationId="{2D0F3C25-4E60-4CA6-ACA8-C251B42D9D5D}"/>
          </ac:spMkLst>
        </pc:spChg>
        <pc:grpChg chg="del">
          <ac:chgData name="Julie M Petersen" userId="6fc7cfdc-6116-41d4-9a87-1fac2e25d9fb" providerId="ADAL" clId="{8371E356-2D55-4EC2-96DE-583FF76CC90E}" dt="2022-02-10T17:33:53.159" v="696" actId="478"/>
          <ac:grpSpMkLst>
            <pc:docMk/>
            <pc:sldMk cId="1168289130" sldId="279"/>
            <ac:grpSpMk id="33" creationId="{A412E4A9-3648-4DA1-82CA-DF09C858D1F9}"/>
          </ac:grpSpMkLst>
        </pc:grpChg>
        <pc:graphicFrameChg chg="mod">
          <ac:chgData name="Julie M Petersen" userId="6fc7cfdc-6116-41d4-9a87-1fac2e25d9fb" providerId="ADAL" clId="{8371E356-2D55-4EC2-96DE-583FF76CC90E}" dt="2022-02-10T17:33:47.461" v="695"/>
          <ac:graphicFrameMkLst>
            <pc:docMk/>
            <pc:sldMk cId="1168289130" sldId="279"/>
            <ac:graphicFrameMk id="11" creationId="{E0EADA70-ED6A-4864-A03F-007C5A1134ED}"/>
          </ac:graphicFrameMkLst>
        </pc:graphicFrameChg>
      </pc:sldChg>
      <pc:sldChg chg="delSp modSp add del mod ord">
        <pc:chgData name="Julie M Petersen" userId="6fc7cfdc-6116-41d4-9a87-1fac2e25d9fb" providerId="ADAL" clId="{8371E356-2D55-4EC2-96DE-583FF76CC90E}" dt="2022-02-12T21:39:50.532" v="5728" actId="47"/>
        <pc:sldMkLst>
          <pc:docMk/>
          <pc:sldMk cId="671035242" sldId="280"/>
        </pc:sldMkLst>
        <pc:spChg chg="mod">
          <ac:chgData name="Julie M Petersen" userId="6fc7cfdc-6116-41d4-9a87-1fac2e25d9fb" providerId="ADAL" clId="{8371E356-2D55-4EC2-96DE-583FF76CC90E}" dt="2022-02-11T18:11:39.412" v="1028" actId="404"/>
          <ac:spMkLst>
            <pc:docMk/>
            <pc:sldMk cId="671035242" sldId="280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18:11:50.019" v="1037" actId="1076"/>
          <ac:spMkLst>
            <pc:docMk/>
            <pc:sldMk cId="671035242" sldId="280"/>
            <ac:spMk id="8" creationId="{F4A99D62-5AB5-44F3-90DF-A211F8AD8637}"/>
          </ac:spMkLst>
        </pc:spChg>
        <pc:spChg chg="del">
          <ac:chgData name="Julie M Petersen" userId="6fc7cfdc-6116-41d4-9a87-1fac2e25d9fb" providerId="ADAL" clId="{8371E356-2D55-4EC2-96DE-583FF76CC90E}" dt="2022-02-11T18:11:48.003" v="1036" actId="478"/>
          <ac:spMkLst>
            <pc:docMk/>
            <pc:sldMk cId="671035242" sldId="280"/>
            <ac:spMk id="9" creationId="{8030B983-59B5-4689-9305-E34B993C7FF4}"/>
          </ac:spMkLst>
        </pc:spChg>
      </pc:sldChg>
      <pc:sldChg chg="addSp delSp modSp add mod ord">
        <pc:chgData name="Julie M Petersen" userId="6fc7cfdc-6116-41d4-9a87-1fac2e25d9fb" providerId="ADAL" clId="{8371E356-2D55-4EC2-96DE-583FF76CC90E}" dt="2022-02-12T21:41:04.572" v="6012" actId="478"/>
        <pc:sldMkLst>
          <pc:docMk/>
          <pc:sldMk cId="2646183878" sldId="281"/>
        </pc:sldMkLst>
        <pc:spChg chg="del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5" creationId="{8C503702-AE9F-514C-8035-3C03A5CAD9AE}"/>
          </ac:spMkLst>
        </pc:spChg>
        <pc:spChg chg="del">
          <ac:chgData name="Julie M Petersen" userId="6fc7cfdc-6116-41d4-9a87-1fac2e25d9fb" providerId="ADAL" clId="{8371E356-2D55-4EC2-96DE-583FF76CC90E}" dt="2022-02-11T18:12:24.078" v="1046" actId="478"/>
          <ac:spMkLst>
            <pc:docMk/>
            <pc:sldMk cId="2646183878" sldId="281"/>
            <ac:spMk id="7" creationId="{580BCE82-B6F3-4EAF-A1AA-CE6CA094AB3D}"/>
          </ac:spMkLst>
        </pc:spChg>
        <pc:spChg chg="del">
          <ac:chgData name="Julie M Petersen" userId="6fc7cfdc-6116-41d4-9a87-1fac2e25d9fb" providerId="ADAL" clId="{8371E356-2D55-4EC2-96DE-583FF76CC90E}" dt="2022-02-11T18:12:19.223" v="1043" actId="478"/>
          <ac:spMkLst>
            <pc:docMk/>
            <pc:sldMk cId="2646183878" sldId="281"/>
            <ac:spMk id="9" creationId="{3DBA967D-C848-4FB9-94DC-FD178CA5ACC3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1" creationId="{5655C722-5661-41BC-A3C9-682A39F6411F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2" creationId="{3BCA77D7-51CD-439C-A41B-83B040A9A571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3" creationId="{ED5EAFFE-1611-4D09-AE91-6F9608281D43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5" creationId="{D623A449-821A-4286-AE70-4A5080DC542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6" creationId="{9BEDF9F4-0A3D-479E-B6DB-F6FAC3534F8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7" creationId="{26BD2A6B-9523-4F13-914D-484303AC975B}"/>
          </ac:spMkLst>
        </pc:spChg>
        <pc:spChg chg="del mod">
          <ac:chgData name="Julie M Petersen" userId="6fc7cfdc-6116-41d4-9a87-1fac2e25d9fb" providerId="ADAL" clId="{8371E356-2D55-4EC2-96DE-583FF76CC90E}" dt="2022-02-11T18:12:21.711" v="1045" actId="478"/>
          <ac:spMkLst>
            <pc:docMk/>
            <pc:sldMk cId="2646183878" sldId="281"/>
            <ac:spMk id="18" creationId="{D06B3EB6-4EEE-49CB-AFC4-6EE2EE56EB8F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9" creationId="{6E5FBF18-26A9-4204-B939-BA968D5591A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0" creationId="{75A7B6ED-2526-4C35-ADB0-013FEEAC1F78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1" creationId="{A5739B3E-CCE4-49E2-AC40-9F538A82AC86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2" creationId="{D8875C1F-BE90-46CF-B6D7-70EEB8E4A2AD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3" creationId="{FBEE3521-356A-4506-B7E4-D21B27E8C13A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4" creationId="{1E71EC93-9954-44FC-AA39-5EED13EBD3BF}"/>
          </ac:spMkLst>
        </pc:spChg>
        <pc:spChg chg="add mod">
          <ac:chgData name="Julie M Petersen" userId="6fc7cfdc-6116-41d4-9a87-1fac2e25d9fb" providerId="ADAL" clId="{8371E356-2D55-4EC2-96DE-583FF76CC90E}" dt="2022-02-12T21:41:00.195" v="6011"/>
          <ac:spMkLst>
            <pc:docMk/>
            <pc:sldMk cId="2646183878" sldId="281"/>
            <ac:spMk id="24" creationId="{2396F7FB-16C5-460A-8066-D299A70291C3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5" creationId="{B3AC43DC-4C33-4123-A8C7-1F27D072B380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6" creationId="{E5CDD0D9-B648-4D40-8214-DA8D1C845E54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7" creationId="{F818F3A9-ECD7-40CB-9B27-B6D425AFEF10}"/>
          </ac:spMkLst>
        </pc:spChg>
        <pc:spChg chg="add del mod">
          <ac:chgData name="Julie M Petersen" userId="6fc7cfdc-6116-41d4-9a87-1fac2e25d9fb" providerId="ADAL" clId="{8371E356-2D55-4EC2-96DE-583FF76CC90E}" dt="2022-02-12T21:40:59.389" v="6010" actId="478"/>
          <ac:spMkLst>
            <pc:docMk/>
            <pc:sldMk cId="2646183878" sldId="281"/>
            <ac:spMk id="28" creationId="{EA4E792E-236B-4989-8956-403B16B508F9}"/>
          </ac:spMkLst>
        </pc:spChg>
        <pc:spChg chg="add del mod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29" creationId="{F327A194-1C9F-441A-8396-A481AD001C15}"/>
          </ac:spMkLst>
        </pc:spChg>
        <pc:spChg chg="add del mod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30" creationId="{91B8821B-9C87-4458-9866-F2E92FFB9EE3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2" creationId="{A1A78135-604E-411E-9620-EC415C2C0787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3" creationId="{CED95871-835A-4065-95A2-E624C6F60B2D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4" creationId="{72646E29-D068-49A8-964A-D3C890D3C63E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5" creationId="{EB7AC4F6-1573-46E3-94CA-31171CA0EF62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6" creationId="{E25D0572-1610-4130-8387-2DC7DFB01910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7" creationId="{E5664A08-513C-484F-8617-A1D85EBEE3FF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8" creationId="{5E903DF1-B33E-4138-BDD3-6D3F44F5FF8B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9" creationId="{B8E3CB15-0D21-42FE-BE2F-AB8616057D06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40" creationId="{9F5EB621-84FA-4DA4-91B3-9B474B893AF8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41" creationId="{3384DCA5-04A4-4697-B9ED-4A167B4AC477}"/>
          </ac:spMkLst>
        </pc:spChg>
        <pc:spChg chg="mod">
          <ac:chgData name="Julie M Petersen" userId="6fc7cfdc-6116-41d4-9a87-1fac2e25d9fb" providerId="ADAL" clId="{8371E356-2D55-4EC2-96DE-583FF76CC90E}" dt="2022-02-12T21:21:39.033" v="5440" actId="20577"/>
          <ac:spMkLst>
            <pc:docMk/>
            <pc:sldMk cId="2646183878" sldId="281"/>
            <ac:spMk id="42" creationId="{17B15D79-A7BF-425B-8814-491B9F3C2BE4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43" creationId="{EDE92A8D-AC10-45A3-AE60-AE363E0C3908}"/>
          </ac:spMkLst>
        </pc:spChg>
        <pc:spChg chg="add mod">
          <ac:chgData name="Julie M Petersen" userId="6fc7cfdc-6116-41d4-9a87-1fac2e25d9fb" providerId="ADAL" clId="{8371E356-2D55-4EC2-96DE-583FF76CC90E}" dt="2022-02-11T22:16:31.267" v="3595"/>
          <ac:spMkLst>
            <pc:docMk/>
            <pc:sldMk cId="2646183878" sldId="281"/>
            <ac:spMk id="44" creationId="{61F894DC-87DD-4CB6-B29E-59B9299774E9}"/>
          </ac:spMkLst>
        </pc:spChg>
        <pc:spChg chg="add mod">
          <ac:chgData name="Julie M Petersen" userId="6fc7cfdc-6116-41d4-9a87-1fac2e25d9fb" providerId="ADAL" clId="{8371E356-2D55-4EC2-96DE-583FF76CC90E}" dt="2022-02-11T22:16:31.267" v="3595"/>
          <ac:spMkLst>
            <pc:docMk/>
            <pc:sldMk cId="2646183878" sldId="281"/>
            <ac:spMk id="45" creationId="{2EA26D15-D314-4D95-A5FF-309602CB9205}"/>
          </ac:spMkLst>
        </pc:spChg>
        <pc:grpChg chg="add del mod">
          <ac:chgData name="Julie M Petersen" userId="6fc7cfdc-6116-41d4-9a87-1fac2e25d9fb" providerId="ADAL" clId="{8371E356-2D55-4EC2-96DE-583FF76CC90E}" dt="2022-02-11T18:12:17.394" v="1042"/>
          <ac:grpSpMkLst>
            <pc:docMk/>
            <pc:sldMk cId="2646183878" sldId="281"/>
            <ac:grpSpMk id="14" creationId="{1E0711D2-D195-48F9-B016-37AFD03C2172}"/>
          </ac:grpSpMkLst>
        </pc:grpChg>
        <pc:grpChg chg="add mod">
          <ac:chgData name="Julie M Petersen" userId="6fc7cfdc-6116-41d4-9a87-1fac2e25d9fb" providerId="ADAL" clId="{8371E356-2D55-4EC2-96DE-583FF76CC90E}" dt="2022-02-11T18:12:24.361" v="1047"/>
          <ac:grpSpMkLst>
            <pc:docMk/>
            <pc:sldMk cId="2646183878" sldId="281"/>
            <ac:grpSpMk id="31" creationId="{E95B586A-77F9-4DE3-99C2-2471AF62B48B}"/>
          </ac:grpSpMkLst>
        </pc:grpChg>
      </pc:sldChg>
      <pc:sldChg chg="addSp delSp modSp add mod">
        <pc:chgData name="Julie M Petersen" userId="6fc7cfdc-6116-41d4-9a87-1fac2e25d9fb" providerId="ADAL" clId="{8371E356-2D55-4EC2-96DE-583FF76CC90E}" dt="2022-02-12T21:21:43.223" v="5444" actId="20577"/>
        <pc:sldMkLst>
          <pc:docMk/>
          <pc:sldMk cId="2068135247" sldId="282"/>
        </pc:sldMkLst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1T22:16:14.036" v="3592" actId="14100"/>
          <ac:spMkLst>
            <pc:docMk/>
            <pc:sldMk cId="2068135247" sldId="282"/>
            <ac:spMk id="12" creationId="{07EE5E97-BD43-41D5-97D9-C36BE31F2D9E}"/>
          </ac:spMkLst>
        </pc:spChg>
        <pc:spChg chg="mod">
          <ac:chgData name="Julie M Petersen" userId="6fc7cfdc-6116-41d4-9a87-1fac2e25d9fb" providerId="ADAL" clId="{8371E356-2D55-4EC2-96DE-583FF76CC90E}" dt="2022-02-11T22:16:16.138" v="3593" actId="1076"/>
          <ac:spMkLst>
            <pc:docMk/>
            <pc:sldMk cId="2068135247" sldId="282"/>
            <ac:spMk id="28" creationId="{EA4E792E-236B-4989-8956-403B16B508F9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29" creationId="{F327A194-1C9F-441A-8396-A481AD001C15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30" creationId="{91B8821B-9C87-4458-9866-F2E92FFB9EE3}"/>
          </ac:spMkLst>
        </pc:spChg>
        <pc:spChg chg="mod">
          <ac:chgData name="Julie M Petersen" userId="6fc7cfdc-6116-41d4-9a87-1fac2e25d9fb" providerId="ADAL" clId="{8371E356-2D55-4EC2-96DE-583FF76CC90E}" dt="2022-02-11T18:13:10.128" v="1070" actId="207"/>
          <ac:spMkLst>
            <pc:docMk/>
            <pc:sldMk cId="2068135247" sldId="282"/>
            <ac:spMk id="32" creationId="{A1A78135-604E-411E-9620-EC415C2C0787}"/>
          </ac:spMkLst>
        </pc:spChg>
        <pc:spChg chg="mod">
          <ac:chgData name="Julie M Petersen" userId="6fc7cfdc-6116-41d4-9a87-1fac2e25d9fb" providerId="ADAL" clId="{8371E356-2D55-4EC2-96DE-583FF76CC90E}" dt="2022-02-12T21:21:43.223" v="5444" actId="20577"/>
          <ac:spMkLst>
            <pc:docMk/>
            <pc:sldMk cId="2068135247" sldId="282"/>
            <ac:spMk id="42" creationId="{17B15D79-A7BF-425B-8814-491B9F3C2BE4}"/>
          </ac:spMkLst>
        </pc:spChg>
        <pc:spChg chg="add mod">
          <ac:chgData name="Julie M Petersen" userId="6fc7cfdc-6116-41d4-9a87-1fac2e25d9fb" providerId="ADAL" clId="{8371E356-2D55-4EC2-96DE-583FF76CC90E}" dt="2022-02-11T22:16:20.440" v="3594" actId="14100"/>
          <ac:spMkLst>
            <pc:docMk/>
            <pc:sldMk cId="2068135247" sldId="282"/>
            <ac:spMk id="44" creationId="{141DA009-C27D-469F-9A1F-1DE415945FE6}"/>
          </ac:spMkLst>
        </pc:spChg>
        <pc:cxnChg chg="add del mod">
          <ac:chgData name="Julie M Petersen" userId="6fc7cfdc-6116-41d4-9a87-1fac2e25d9fb" providerId="ADAL" clId="{8371E356-2D55-4EC2-96DE-583FF76CC90E}" dt="2022-02-11T22:15:13.037" v="3574" actId="478"/>
          <ac:cxnSpMkLst>
            <pc:docMk/>
            <pc:sldMk cId="2068135247" sldId="282"/>
            <ac:cxnSpMk id="4" creationId="{3643C058-5355-4824-A41E-B88B79653580}"/>
          </ac:cxnSpMkLst>
        </pc:cxnChg>
      </pc:sldChg>
      <pc:sldChg chg="new add del">
        <pc:chgData name="Julie M Petersen" userId="6fc7cfdc-6116-41d4-9a87-1fac2e25d9fb" providerId="ADAL" clId="{8371E356-2D55-4EC2-96DE-583FF76CC90E}" dt="2022-02-11T18:27:22.306" v="1470" actId="47"/>
        <pc:sldMkLst>
          <pc:docMk/>
          <pc:sldMk cId="1030397461" sldId="283"/>
        </pc:sldMkLst>
      </pc:sldChg>
      <pc:sldChg chg="addSp delSp modSp add del mod">
        <pc:chgData name="Julie M Petersen" userId="6fc7cfdc-6116-41d4-9a87-1fac2e25d9fb" providerId="ADAL" clId="{8371E356-2D55-4EC2-96DE-583FF76CC90E}" dt="2022-02-11T21:48:51.861" v="3208" actId="47"/>
        <pc:sldMkLst>
          <pc:docMk/>
          <pc:sldMk cId="3529720949" sldId="283"/>
        </pc:sldMkLst>
        <pc:spChg chg="add del mod">
          <ac:chgData name="Julie M Petersen" userId="6fc7cfdc-6116-41d4-9a87-1fac2e25d9fb" providerId="ADAL" clId="{8371E356-2D55-4EC2-96DE-583FF76CC90E}" dt="2022-02-11T18:31:32.516" v="1567" actId="931"/>
          <ac:spMkLst>
            <pc:docMk/>
            <pc:sldMk cId="3529720949" sldId="283"/>
            <ac:spMk id="7" creationId="{A04DAFA2-28CB-4CE9-97E8-4B89F5FFA169}"/>
          </ac:spMkLst>
        </pc:spChg>
        <pc:spChg chg="mod">
          <ac:chgData name="Julie M Petersen" userId="6fc7cfdc-6116-41d4-9a87-1fac2e25d9fb" providerId="ADAL" clId="{8371E356-2D55-4EC2-96DE-583FF76CC90E}" dt="2022-02-11T21:48:09.078" v="3195" actId="20577"/>
          <ac:spMkLst>
            <pc:docMk/>
            <pc:sldMk cId="3529720949" sldId="283"/>
            <ac:spMk id="8" creationId="{04AE4038-4E1A-4260-92A8-9F7765409173}"/>
          </ac:spMkLst>
        </pc:spChg>
        <pc:spChg chg="add del mod">
          <ac:chgData name="Julie M Petersen" userId="6fc7cfdc-6116-41d4-9a87-1fac2e25d9fb" providerId="ADAL" clId="{8371E356-2D55-4EC2-96DE-583FF76CC90E}" dt="2022-02-11T18:50:54.807" v="1934" actId="478"/>
          <ac:spMkLst>
            <pc:docMk/>
            <pc:sldMk cId="3529720949" sldId="283"/>
            <ac:spMk id="23" creationId="{EFE259E5-4E74-4B77-B3C6-C3B06FB2B220}"/>
          </ac:spMkLst>
        </pc:spChg>
        <pc:picChg chg="del">
          <ac:chgData name="Julie M Petersen" userId="6fc7cfdc-6116-41d4-9a87-1fac2e25d9fb" providerId="ADAL" clId="{8371E356-2D55-4EC2-96DE-583FF76CC90E}" dt="2022-02-11T18:30:28.396" v="1566" actId="478"/>
          <ac:picMkLst>
            <pc:docMk/>
            <pc:sldMk cId="3529720949" sldId="283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18:50:52.839" v="1933" actId="478"/>
          <ac:picMkLst>
            <pc:docMk/>
            <pc:sldMk cId="3529720949" sldId="283"/>
            <ac:picMk id="15" creationId="{24E78768-A417-4465-BA51-841C25F2C8F9}"/>
          </ac:picMkLst>
        </pc:picChg>
        <pc:picChg chg="add del mod">
          <ac:chgData name="Julie M Petersen" userId="6fc7cfdc-6116-41d4-9a87-1fac2e25d9fb" providerId="ADAL" clId="{8371E356-2D55-4EC2-96DE-583FF76CC90E}" dt="2022-02-11T18:52:49.715" v="1938" actId="478"/>
          <ac:picMkLst>
            <pc:docMk/>
            <pc:sldMk cId="3529720949" sldId="283"/>
            <ac:picMk id="17" creationId="{4B76BF3B-1B16-4ABC-B222-5DE1D244AA6A}"/>
          </ac:picMkLst>
        </pc:picChg>
        <pc:picChg chg="add del mod">
          <ac:chgData name="Julie M Petersen" userId="6fc7cfdc-6116-41d4-9a87-1fac2e25d9fb" providerId="ADAL" clId="{8371E356-2D55-4EC2-96DE-583FF76CC90E}" dt="2022-02-11T18:50:55.779" v="1936" actId="478"/>
          <ac:picMkLst>
            <pc:docMk/>
            <pc:sldMk cId="3529720949" sldId="283"/>
            <ac:picMk id="19" creationId="{9A6C7AD2-5F1C-4197-8381-44637AC46695}"/>
          </ac:picMkLst>
        </pc:picChg>
        <pc:picChg chg="add del mod">
          <ac:chgData name="Julie M Petersen" userId="6fc7cfdc-6116-41d4-9a87-1fac2e25d9fb" providerId="ADAL" clId="{8371E356-2D55-4EC2-96DE-583FF76CC90E}" dt="2022-02-11T18:50:55.302" v="1935" actId="478"/>
          <ac:picMkLst>
            <pc:docMk/>
            <pc:sldMk cId="3529720949" sldId="283"/>
            <ac:picMk id="21" creationId="{07168CA0-8071-4479-8B4C-184A5903C7CF}"/>
          </ac:picMkLst>
        </pc:picChg>
        <pc:picChg chg="add mod">
          <ac:chgData name="Julie M Petersen" userId="6fc7cfdc-6116-41d4-9a87-1fac2e25d9fb" providerId="ADAL" clId="{8371E356-2D55-4EC2-96DE-583FF76CC90E}" dt="2022-02-11T18:53:48.082" v="1955" actId="1076"/>
          <ac:picMkLst>
            <pc:docMk/>
            <pc:sldMk cId="3529720949" sldId="283"/>
            <ac:picMk id="25" creationId="{D524D897-796A-4B86-B3BE-1BF20E2E2194}"/>
          </ac:picMkLst>
        </pc:picChg>
        <pc:picChg chg="add mod">
          <ac:chgData name="Julie M Petersen" userId="6fc7cfdc-6116-41d4-9a87-1fac2e25d9fb" providerId="ADAL" clId="{8371E356-2D55-4EC2-96DE-583FF76CC90E}" dt="2022-02-11T18:53:46.239" v="1954" actId="14100"/>
          <ac:picMkLst>
            <pc:docMk/>
            <pc:sldMk cId="3529720949" sldId="283"/>
            <ac:picMk id="27" creationId="{33CC934C-D8CE-47E7-8CB8-D59DDB05B3E7}"/>
          </ac:picMkLst>
        </pc:picChg>
        <pc:picChg chg="add mod">
          <ac:chgData name="Julie M Petersen" userId="6fc7cfdc-6116-41d4-9a87-1fac2e25d9fb" providerId="ADAL" clId="{8371E356-2D55-4EC2-96DE-583FF76CC90E}" dt="2022-02-11T18:53:38.268" v="1952" actId="1076"/>
          <ac:picMkLst>
            <pc:docMk/>
            <pc:sldMk cId="3529720949" sldId="283"/>
            <ac:picMk id="29" creationId="{9A1C043C-2A87-4094-8F3D-CD46F4A3F196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1:52:11.868" v="3229" actId="47"/>
        <pc:sldMkLst>
          <pc:docMk/>
          <pc:sldMk cId="1987092086" sldId="284"/>
        </pc:sldMkLst>
        <pc:spChg chg="add del mod">
          <ac:chgData name="Julie M Petersen" userId="6fc7cfdc-6116-41d4-9a87-1fac2e25d9fb" providerId="ADAL" clId="{8371E356-2D55-4EC2-96DE-583FF76CC90E}" dt="2022-02-11T19:00:04.316" v="1976" actId="478"/>
          <ac:spMkLst>
            <pc:docMk/>
            <pc:sldMk cId="1987092086" sldId="284"/>
            <ac:spMk id="7" creationId="{2156B828-6781-49D4-BB40-C6D2BC0AD0D3}"/>
          </ac:spMkLst>
        </pc:spChg>
        <pc:spChg chg="mod">
          <ac:chgData name="Julie M Petersen" userId="6fc7cfdc-6116-41d4-9a87-1fac2e25d9fb" providerId="ADAL" clId="{8371E356-2D55-4EC2-96DE-583FF76CC90E}" dt="2022-02-11T21:49:18.472" v="3217" actId="20577"/>
          <ac:spMkLst>
            <pc:docMk/>
            <pc:sldMk cId="1987092086" sldId="284"/>
            <ac:spMk id="8" creationId="{04AE4038-4E1A-4260-92A8-9F7765409173}"/>
          </ac:spMkLst>
        </pc:spChg>
        <pc:spChg chg="add mod">
          <ac:chgData name="Julie M Petersen" userId="6fc7cfdc-6116-41d4-9a87-1fac2e25d9fb" providerId="ADAL" clId="{8371E356-2D55-4EC2-96DE-583FF76CC90E}" dt="2022-02-11T21:49:21.564" v="3218" actId="1076"/>
          <ac:spMkLst>
            <pc:docMk/>
            <pc:sldMk cId="1987092086" sldId="284"/>
            <ac:spMk id="16" creationId="{16625463-E627-4C5F-A12D-EF38F34AEDF0}"/>
          </ac:spMkLst>
        </pc:spChg>
        <pc:spChg chg="add mod">
          <ac:chgData name="Julie M Petersen" userId="6fc7cfdc-6116-41d4-9a87-1fac2e25d9fb" providerId="ADAL" clId="{8371E356-2D55-4EC2-96DE-583FF76CC90E}" dt="2022-02-11T21:49:36.336" v="3221" actId="1076"/>
          <ac:spMkLst>
            <pc:docMk/>
            <pc:sldMk cId="1987092086" sldId="284"/>
            <ac:spMk id="17" creationId="{6483F5DD-900F-449A-BC39-097EB5CB65AE}"/>
          </ac:spMkLst>
        </pc:spChg>
        <pc:picChg chg="del">
          <ac:chgData name="Julie M Petersen" userId="6fc7cfdc-6116-41d4-9a87-1fac2e25d9fb" providerId="ADAL" clId="{8371E356-2D55-4EC2-96DE-583FF76CC90E}" dt="2022-02-11T18:35:18.642" v="1582" actId="478"/>
          <ac:picMkLst>
            <pc:docMk/>
            <pc:sldMk cId="1987092086" sldId="284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21:49:32.191" v="3220" actId="478"/>
          <ac:picMkLst>
            <pc:docMk/>
            <pc:sldMk cId="1987092086" sldId="284"/>
            <ac:picMk id="15" creationId="{1BB9DC99-86CC-4725-90FE-CE3915B372BC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1:47:46.264" v="3130" actId="47"/>
        <pc:sldMkLst>
          <pc:docMk/>
          <pc:sldMk cId="3640047941" sldId="285"/>
        </pc:sldMkLst>
        <pc:spChg chg="mod">
          <ac:chgData name="Julie M Petersen" userId="6fc7cfdc-6116-41d4-9a87-1fac2e25d9fb" providerId="ADAL" clId="{8371E356-2D55-4EC2-96DE-583FF76CC90E}" dt="2022-02-11T18:50:13.992" v="1882" actId="1076"/>
          <ac:spMkLst>
            <pc:docMk/>
            <pc:sldMk cId="3640047941" sldId="285"/>
            <ac:spMk id="8" creationId="{04AE4038-4E1A-4260-92A8-9F7765409173}"/>
          </ac:spMkLst>
        </pc:spChg>
        <pc:spChg chg="add mod">
          <ac:chgData name="Julie M Petersen" userId="6fc7cfdc-6116-41d4-9a87-1fac2e25d9fb" providerId="ADAL" clId="{8371E356-2D55-4EC2-96DE-583FF76CC90E}" dt="2022-02-11T18:50:25.164" v="1897" actId="14100"/>
          <ac:spMkLst>
            <pc:docMk/>
            <pc:sldMk cId="3640047941" sldId="285"/>
            <ac:spMk id="9" creationId="{8D224EB8-2097-4819-846A-CE5CFB0D4BC3}"/>
          </ac:spMkLst>
        </pc:spChg>
        <pc:spChg chg="add del mod">
          <ac:chgData name="Julie M Petersen" userId="6fc7cfdc-6116-41d4-9a87-1fac2e25d9fb" providerId="ADAL" clId="{8371E356-2D55-4EC2-96DE-583FF76CC90E}" dt="2022-02-11T18:44:12.088" v="1791" actId="21"/>
          <ac:spMkLst>
            <pc:docMk/>
            <pc:sldMk cId="3640047941" sldId="285"/>
            <ac:spMk id="15" creationId="{683AE529-3D8B-452A-9B0D-A0FC41265F00}"/>
          </ac:spMkLst>
        </pc:spChg>
        <pc:spChg chg="add del mod">
          <ac:chgData name="Julie M Petersen" userId="6fc7cfdc-6116-41d4-9a87-1fac2e25d9fb" providerId="ADAL" clId="{8371E356-2D55-4EC2-96DE-583FF76CC90E}" dt="2022-02-11T18:44:17.847" v="1794" actId="478"/>
          <ac:spMkLst>
            <pc:docMk/>
            <pc:sldMk cId="3640047941" sldId="285"/>
            <ac:spMk id="18" creationId="{B8FAF7F6-FB3E-49B3-9247-58D8BCF6755D}"/>
          </ac:spMkLst>
        </pc:spChg>
        <pc:picChg chg="del mod">
          <ac:chgData name="Julie M Petersen" userId="6fc7cfdc-6116-41d4-9a87-1fac2e25d9fb" providerId="ADAL" clId="{8371E356-2D55-4EC2-96DE-583FF76CC90E}" dt="2022-02-11T18:44:15.135" v="1792" actId="478"/>
          <ac:picMkLst>
            <pc:docMk/>
            <pc:sldMk cId="3640047941" sldId="285"/>
            <ac:picMk id="4" creationId="{EF800174-4AF7-41F1-A4D0-1F9766BDF5B8}"/>
          </ac:picMkLst>
        </pc:picChg>
      </pc:sldChg>
      <pc:sldChg chg="delSp modSp add del mod ord">
        <pc:chgData name="Julie M Petersen" userId="6fc7cfdc-6116-41d4-9a87-1fac2e25d9fb" providerId="ADAL" clId="{8371E356-2D55-4EC2-96DE-583FF76CC90E}" dt="2022-02-11T21:48:54.485" v="3209" actId="47"/>
        <pc:sldMkLst>
          <pc:docMk/>
          <pc:sldMk cId="974463867" sldId="286"/>
        </pc:sldMkLst>
        <pc:spChg chg="mod">
          <ac:chgData name="Julie M Petersen" userId="6fc7cfdc-6116-41d4-9a87-1fac2e25d9fb" providerId="ADAL" clId="{8371E356-2D55-4EC2-96DE-583FF76CC90E}" dt="2022-02-11T20:38:53.447" v="2137" actId="20577"/>
          <ac:spMkLst>
            <pc:docMk/>
            <pc:sldMk cId="974463867" sldId="286"/>
            <ac:spMk id="8" creationId="{04AE4038-4E1A-4260-92A8-9F7765409173}"/>
          </ac:spMkLst>
        </pc:spChg>
        <pc:picChg chg="del">
          <ac:chgData name="Julie M Petersen" userId="6fc7cfdc-6116-41d4-9a87-1fac2e25d9fb" providerId="ADAL" clId="{8371E356-2D55-4EC2-96DE-583FF76CC90E}" dt="2022-02-11T20:38:23.230" v="2124" actId="478"/>
          <ac:picMkLst>
            <pc:docMk/>
            <pc:sldMk cId="974463867" sldId="286"/>
            <ac:picMk id="25" creationId="{D524D897-796A-4B86-B3BE-1BF20E2E2194}"/>
          </ac:picMkLst>
        </pc:picChg>
        <pc:picChg chg="del">
          <ac:chgData name="Julie M Petersen" userId="6fc7cfdc-6116-41d4-9a87-1fac2e25d9fb" providerId="ADAL" clId="{8371E356-2D55-4EC2-96DE-583FF76CC90E}" dt="2022-02-11T20:38:22.793" v="2123" actId="478"/>
          <ac:picMkLst>
            <pc:docMk/>
            <pc:sldMk cId="974463867" sldId="286"/>
            <ac:picMk id="27" creationId="{33CC934C-D8CE-47E7-8CB8-D59DDB05B3E7}"/>
          </ac:picMkLst>
        </pc:picChg>
        <pc:picChg chg="del">
          <ac:chgData name="Julie M Petersen" userId="6fc7cfdc-6116-41d4-9a87-1fac2e25d9fb" providerId="ADAL" clId="{8371E356-2D55-4EC2-96DE-583FF76CC90E}" dt="2022-02-11T20:38:23.791" v="2125" actId="478"/>
          <ac:picMkLst>
            <pc:docMk/>
            <pc:sldMk cId="974463867" sldId="286"/>
            <ac:picMk id="29" creationId="{9A1C043C-2A87-4094-8F3D-CD46F4A3F196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3:20:16.206" v="3816" actId="47"/>
        <pc:sldMkLst>
          <pc:docMk/>
          <pc:sldMk cId="2549729748" sldId="287"/>
        </pc:sldMkLst>
        <pc:spChg chg="add del mod">
          <ac:chgData name="Julie M Petersen" userId="6fc7cfdc-6116-41d4-9a87-1fac2e25d9fb" providerId="ADAL" clId="{8371E356-2D55-4EC2-96DE-583FF76CC90E}" dt="2022-02-11T21:29:52.800" v="2402" actId="478"/>
          <ac:spMkLst>
            <pc:docMk/>
            <pc:sldMk cId="2549729748" sldId="287"/>
            <ac:spMk id="4" creationId="{EE4F265F-9BF7-4AD3-8485-7A7CF5F97FD4}"/>
          </ac:spMkLst>
        </pc:spChg>
        <pc:spChg chg="del">
          <ac:chgData name="Julie M Petersen" userId="6fc7cfdc-6116-41d4-9a87-1fac2e25d9fb" providerId="ADAL" clId="{8371E356-2D55-4EC2-96DE-583FF76CC90E}" dt="2022-02-11T21:29:10.659" v="2377" actId="478"/>
          <ac:spMkLst>
            <pc:docMk/>
            <pc:sldMk cId="2549729748" sldId="287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21:39:26.549" v="2815" actId="1076"/>
          <ac:spMkLst>
            <pc:docMk/>
            <pc:sldMk cId="2549729748" sldId="287"/>
            <ac:spMk id="8" creationId="{F4A99D62-5AB5-44F3-90DF-A211F8AD8637}"/>
          </ac:spMkLst>
        </pc:spChg>
        <pc:spChg chg="add mod">
          <ac:chgData name="Julie M Petersen" userId="6fc7cfdc-6116-41d4-9a87-1fac2e25d9fb" providerId="ADAL" clId="{8371E356-2D55-4EC2-96DE-583FF76CC90E}" dt="2022-02-11T22:00:41.351" v="3433" actId="20577"/>
          <ac:spMkLst>
            <pc:docMk/>
            <pc:sldMk cId="2549729748" sldId="287"/>
            <ac:spMk id="15" creationId="{B60BFDC1-641C-4FA7-BE39-37C265B51F6D}"/>
          </ac:spMkLst>
        </pc:spChg>
        <pc:spChg chg="add mod">
          <ac:chgData name="Julie M Petersen" userId="6fc7cfdc-6116-41d4-9a87-1fac2e25d9fb" providerId="ADAL" clId="{8371E356-2D55-4EC2-96DE-583FF76CC90E}" dt="2022-02-11T22:00:43.280" v="3435" actId="20577"/>
          <ac:spMkLst>
            <pc:docMk/>
            <pc:sldMk cId="2549729748" sldId="287"/>
            <ac:spMk id="16" creationId="{6A4441B8-ADE5-4842-8FB1-CAC81443ACE7}"/>
          </ac:spMkLst>
        </pc:spChg>
        <pc:picChg chg="add mod">
          <ac:chgData name="Julie M Petersen" userId="6fc7cfdc-6116-41d4-9a87-1fac2e25d9fb" providerId="ADAL" clId="{8371E356-2D55-4EC2-96DE-583FF76CC90E}" dt="2022-02-11T22:00:58.294" v="3442" actId="1076"/>
          <ac:picMkLst>
            <pc:docMk/>
            <pc:sldMk cId="2549729748" sldId="287"/>
            <ac:picMk id="18" creationId="{A26BC8AE-AC12-450B-9EF9-02A428960665}"/>
          </ac:picMkLst>
        </pc:picChg>
        <pc:picChg chg="add mod">
          <ac:chgData name="Julie M Petersen" userId="6fc7cfdc-6116-41d4-9a87-1fac2e25d9fb" providerId="ADAL" clId="{8371E356-2D55-4EC2-96DE-583FF76CC90E}" dt="2022-02-11T22:12:06.983" v="3502" actId="1076"/>
          <ac:picMkLst>
            <pc:docMk/>
            <pc:sldMk cId="2549729748" sldId="287"/>
            <ac:picMk id="20" creationId="{6F027E30-8CA7-4B7C-A55A-0BC439C494BF}"/>
          </ac:picMkLst>
        </pc:picChg>
        <pc:picChg chg="add mod">
          <ac:chgData name="Julie M Petersen" userId="6fc7cfdc-6116-41d4-9a87-1fac2e25d9fb" providerId="ADAL" clId="{8371E356-2D55-4EC2-96DE-583FF76CC90E}" dt="2022-02-11T22:12:08.717" v="3503" actId="14100"/>
          <ac:picMkLst>
            <pc:docMk/>
            <pc:sldMk cId="2549729748" sldId="287"/>
            <ac:picMk id="22" creationId="{33FEBB0E-2931-47F8-A5E6-66B5CF99E324}"/>
          </ac:picMkLst>
        </pc:picChg>
        <pc:picChg chg="add mod">
          <ac:chgData name="Julie M Petersen" userId="6fc7cfdc-6116-41d4-9a87-1fac2e25d9fb" providerId="ADAL" clId="{8371E356-2D55-4EC2-96DE-583FF76CC90E}" dt="2022-02-11T22:01:04.419" v="3445" actId="1076"/>
          <ac:picMkLst>
            <pc:docMk/>
            <pc:sldMk cId="2549729748" sldId="287"/>
            <ac:picMk id="24" creationId="{E6948723-44E0-4FF2-8157-532B378E2F50}"/>
          </ac:picMkLst>
        </pc:picChg>
      </pc:sldChg>
      <pc:sldChg chg="addSp modSp add mod ord">
        <pc:chgData name="Julie M Petersen" userId="6fc7cfdc-6116-41d4-9a87-1fac2e25d9fb" providerId="ADAL" clId="{8371E356-2D55-4EC2-96DE-583FF76CC90E}" dt="2022-02-12T21:49:34.506" v="6530" actId="20577"/>
        <pc:sldMkLst>
          <pc:docMk/>
          <pc:sldMk cId="222798595" sldId="288"/>
        </pc:sldMkLst>
        <pc:spChg chg="add mod">
          <ac:chgData name="Julie M Petersen" userId="6fc7cfdc-6116-41d4-9a87-1fac2e25d9fb" providerId="ADAL" clId="{8371E356-2D55-4EC2-96DE-583FF76CC90E}" dt="2022-02-12T21:49:34.506" v="6530" actId="20577"/>
          <ac:spMkLst>
            <pc:docMk/>
            <pc:sldMk cId="222798595" sldId="288"/>
            <ac:spMk id="2" creationId="{D99FE911-0114-49FA-A80B-6BA57A4B8CD9}"/>
          </ac:spMkLst>
        </pc:spChg>
        <pc:spChg chg="mod">
          <ac:chgData name="Julie M Petersen" userId="6fc7cfdc-6116-41d4-9a87-1fac2e25d9fb" providerId="ADAL" clId="{8371E356-2D55-4EC2-96DE-583FF76CC90E}" dt="2022-02-12T21:42:34.708" v="6053" actId="20577"/>
          <ac:spMkLst>
            <pc:docMk/>
            <pc:sldMk cId="222798595" sldId="288"/>
            <ac:spMk id="8" creationId="{04AE4038-4E1A-4260-92A8-9F7765409173}"/>
          </ac:spMkLst>
        </pc:spChg>
        <pc:spChg chg="mod">
          <ac:chgData name="Julie M Petersen" userId="6fc7cfdc-6116-41d4-9a87-1fac2e25d9fb" providerId="ADAL" clId="{8371E356-2D55-4EC2-96DE-583FF76CC90E}" dt="2022-02-11T21:36:04.677" v="2601" actId="207"/>
          <ac:spMkLst>
            <pc:docMk/>
            <pc:sldMk cId="222798595" sldId="288"/>
            <ac:spMk id="12" creationId="{4CC95E2E-7501-429C-B46F-7EEDA007F98C}"/>
          </ac:spMkLst>
        </pc:spChg>
        <pc:spChg chg="add mod">
          <ac:chgData name="Julie M Petersen" userId="6fc7cfdc-6116-41d4-9a87-1fac2e25d9fb" providerId="ADAL" clId="{8371E356-2D55-4EC2-96DE-583FF76CC90E}" dt="2022-02-12T21:42:48.701" v="6076" actId="20577"/>
          <ac:spMkLst>
            <pc:docMk/>
            <pc:sldMk cId="222798595" sldId="288"/>
            <ac:spMk id="15" creationId="{A80DC94C-722D-4052-BD1A-F42C38812D99}"/>
          </ac:spMkLst>
        </pc:spChg>
      </pc:sldChg>
      <pc:sldChg chg="add del">
        <pc:chgData name="Julie M Petersen" userId="6fc7cfdc-6116-41d4-9a87-1fac2e25d9fb" providerId="ADAL" clId="{8371E356-2D55-4EC2-96DE-583FF76CC90E}" dt="2022-02-11T22:14:40.507" v="3563" actId="47"/>
        <pc:sldMkLst>
          <pc:docMk/>
          <pc:sldMk cId="2658255380" sldId="289"/>
        </pc:sldMkLst>
      </pc:sldChg>
      <pc:sldChg chg="addSp delSp modSp add mod">
        <pc:chgData name="Julie M Petersen" userId="6fc7cfdc-6116-41d4-9a87-1fac2e25d9fb" providerId="ADAL" clId="{8371E356-2D55-4EC2-96DE-583FF76CC90E}" dt="2022-02-12T21:41:10.757" v="6015" actId="478"/>
        <pc:sldMkLst>
          <pc:docMk/>
          <pc:sldMk cId="2454540676" sldId="290"/>
        </pc:sldMkLst>
        <pc:spChg chg="mod">
          <ac:chgData name="Julie M Petersen" userId="6fc7cfdc-6116-41d4-9a87-1fac2e25d9fb" providerId="ADAL" clId="{8371E356-2D55-4EC2-96DE-583FF76CC90E}" dt="2022-02-12T21:21:53.717" v="5447" actId="948"/>
          <ac:spMkLst>
            <pc:docMk/>
            <pc:sldMk cId="2454540676" sldId="290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08.414" v="6013" actId="478"/>
          <ac:spMkLst>
            <pc:docMk/>
            <pc:sldMk cId="2454540676" sldId="290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1:53.758" v="5486"/>
          <ac:spMkLst>
            <pc:docMk/>
            <pc:sldMk cId="2454540676" sldId="290"/>
            <ac:spMk id="4" creationId="{A71D127F-CDED-4F86-832B-A7C4F9F745E9}"/>
          </ac:spMkLst>
        </pc:spChg>
        <pc:spChg chg="del mod">
          <ac:chgData name="Julie M Petersen" userId="6fc7cfdc-6116-41d4-9a87-1fac2e25d9fb" providerId="ADAL" clId="{8371E356-2D55-4EC2-96DE-583FF76CC90E}" dt="2022-02-12T21:41:10.757" v="6015" actId="478"/>
          <ac:spMkLst>
            <pc:docMk/>
            <pc:sldMk cId="2454540676" sldId="290"/>
            <ac:spMk id="5" creationId="{8C503702-AE9F-514C-8035-3C03A5CAD9AE}"/>
          </ac:spMkLst>
        </pc:spChg>
        <pc:spChg chg="add del mod">
          <ac:chgData name="Julie M Petersen" userId="6fc7cfdc-6116-41d4-9a87-1fac2e25d9fb" providerId="ADAL" clId="{8371E356-2D55-4EC2-96DE-583FF76CC90E}" dt="2022-02-11T21:37:06.256" v="2615" actId="478"/>
          <ac:spMkLst>
            <pc:docMk/>
            <pc:sldMk cId="2454540676" sldId="290"/>
            <ac:spMk id="7" creationId="{4C73D876-0A94-4CF9-A742-84B8DE5F659E}"/>
          </ac:spMkLst>
        </pc:spChg>
        <pc:graphicFrameChg chg="add mod ord modVis">
          <ac:chgData name="Julie M Petersen" userId="6fc7cfdc-6116-41d4-9a87-1fac2e25d9fb" providerId="ADAL" clId="{8371E356-2D55-4EC2-96DE-583FF76CC90E}" dt="2022-02-12T21:21:53.767" v="5488"/>
          <ac:graphicFrameMkLst>
            <pc:docMk/>
            <pc:sldMk cId="2454540676" sldId="290"/>
            <ac:graphicFrameMk id="8" creationId="{42E046E8-40AA-40EA-A038-1A5B77D39B2C}"/>
          </ac:graphicFrameMkLst>
        </pc:graphicFrameChg>
        <pc:graphicFrameChg chg="del">
          <ac:chgData name="Julie M Petersen" userId="6fc7cfdc-6116-41d4-9a87-1fac2e25d9fb" providerId="ADAL" clId="{8371E356-2D55-4EC2-96DE-583FF76CC90E}" dt="2022-02-11T21:37:03.660" v="2614" actId="478"/>
          <ac:graphicFrameMkLst>
            <pc:docMk/>
            <pc:sldMk cId="2454540676" sldId="290"/>
            <ac:graphicFrameMk id="21" creationId="{47D234C6-5775-45F6-AF2D-88B4142B3E45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2T21:41:19.883" v="6018" actId="478"/>
        <pc:sldMkLst>
          <pc:docMk/>
          <pc:sldMk cId="1524755779" sldId="291"/>
        </pc:sldMkLst>
        <pc:spChg chg="mod">
          <ac:chgData name="Julie M Petersen" userId="6fc7cfdc-6116-41d4-9a87-1fac2e25d9fb" providerId="ADAL" clId="{8371E356-2D55-4EC2-96DE-583FF76CC90E}" dt="2022-02-12T21:21:56.907" v="5491" actId="948"/>
          <ac:spMkLst>
            <pc:docMk/>
            <pc:sldMk cId="1524755779" sldId="291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19.883" v="6018" actId="478"/>
          <ac:spMkLst>
            <pc:docMk/>
            <pc:sldMk cId="1524755779" sldId="291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1:56.942" v="5530"/>
          <ac:spMkLst>
            <pc:docMk/>
            <pc:sldMk cId="1524755779" sldId="291"/>
            <ac:spMk id="4" creationId="{BCA4CD38-34E8-4C6A-98F9-6E5A08953658}"/>
          </ac:spMkLst>
        </pc:spChg>
        <pc:spChg chg="del">
          <ac:chgData name="Julie M Petersen" userId="6fc7cfdc-6116-41d4-9a87-1fac2e25d9fb" providerId="ADAL" clId="{8371E356-2D55-4EC2-96DE-583FF76CC90E}" dt="2022-02-12T21:41:19.883" v="6018" actId="478"/>
          <ac:spMkLst>
            <pc:docMk/>
            <pc:sldMk cId="1524755779" sldId="291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2T21:35:17.349" v="5696" actId="20577"/>
          <ac:spMkLst>
            <pc:docMk/>
            <pc:sldMk cId="1524755779" sldId="291"/>
            <ac:spMk id="7" creationId="{DF2E3C6E-B0A8-4D86-9BCB-A6E027626839}"/>
          </ac:spMkLst>
        </pc:spChg>
        <pc:graphicFrameChg chg="mod">
          <ac:chgData name="Julie M Petersen" userId="6fc7cfdc-6116-41d4-9a87-1fac2e25d9fb" providerId="ADAL" clId="{8371E356-2D55-4EC2-96DE-583FF76CC90E}" dt="2022-02-12T21:21:56.946" v="5532"/>
          <ac:graphicFrameMkLst>
            <pc:docMk/>
            <pc:sldMk cId="1524755779" sldId="291"/>
            <ac:graphicFrameMk id="8" creationId="{42E046E8-40AA-40EA-A038-1A5B77D39B2C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2T21:41:49.422" v="6032" actId="478"/>
        <pc:sldMkLst>
          <pc:docMk/>
          <pc:sldMk cId="2735958578" sldId="292"/>
        </pc:sldMkLst>
        <pc:spChg chg="mod">
          <ac:chgData name="Julie M Petersen" userId="6fc7cfdc-6116-41d4-9a87-1fac2e25d9fb" providerId="ADAL" clId="{8371E356-2D55-4EC2-96DE-583FF76CC90E}" dt="2022-02-12T21:22:01.220" v="5535" actId="948"/>
          <ac:spMkLst>
            <pc:docMk/>
            <pc:sldMk cId="2735958578" sldId="292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49.422" v="6032" actId="478"/>
          <ac:spMkLst>
            <pc:docMk/>
            <pc:sldMk cId="2735958578" sldId="292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2:01.258" v="5574"/>
          <ac:spMkLst>
            <pc:docMk/>
            <pc:sldMk cId="2735958578" sldId="292"/>
            <ac:spMk id="4" creationId="{4615440A-9E8E-4C2A-9536-C453D1FBC049}"/>
          </ac:spMkLst>
        </pc:spChg>
        <pc:spChg chg="del">
          <ac:chgData name="Julie M Petersen" userId="6fc7cfdc-6116-41d4-9a87-1fac2e25d9fb" providerId="ADAL" clId="{8371E356-2D55-4EC2-96DE-583FF76CC90E}" dt="2022-02-12T21:41:49.422" v="6032" actId="478"/>
          <ac:spMkLst>
            <pc:docMk/>
            <pc:sldMk cId="2735958578" sldId="292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2T20:46:33.020" v="4894" actId="114"/>
          <ac:spMkLst>
            <pc:docMk/>
            <pc:sldMk cId="2735958578" sldId="292"/>
            <ac:spMk id="7" creationId="{10786BB7-0C53-442B-9A5B-522A1CE29F2D}"/>
          </ac:spMkLst>
        </pc:spChg>
        <pc:graphicFrameChg chg="mod">
          <ac:chgData name="Julie M Petersen" userId="6fc7cfdc-6116-41d4-9a87-1fac2e25d9fb" providerId="ADAL" clId="{8371E356-2D55-4EC2-96DE-583FF76CC90E}" dt="2022-02-12T21:22:01.262" v="5576"/>
          <ac:graphicFrameMkLst>
            <pc:docMk/>
            <pc:sldMk cId="2735958578" sldId="292"/>
            <ac:graphicFrameMk id="8" creationId="{42E046E8-40AA-40EA-A038-1A5B77D39B2C}"/>
          </ac:graphicFrameMkLst>
        </pc:graphicFrameChg>
      </pc:sldChg>
      <pc:sldChg chg="new add del">
        <pc:chgData name="Julie M Petersen" userId="6fc7cfdc-6116-41d4-9a87-1fac2e25d9fb" providerId="ADAL" clId="{8371E356-2D55-4EC2-96DE-583FF76CC90E}" dt="2022-02-11T21:46:55.741" v="3106" actId="47"/>
        <pc:sldMkLst>
          <pc:docMk/>
          <pc:sldMk cId="1550271535" sldId="293"/>
        </pc:sldMkLst>
      </pc:sldChg>
      <pc:sldChg chg="addSp delSp modSp new add mod">
        <pc:chgData name="Julie M Petersen" userId="6fc7cfdc-6116-41d4-9a87-1fac2e25d9fb" providerId="ADAL" clId="{8371E356-2D55-4EC2-96DE-583FF76CC90E}" dt="2022-02-12T21:41:22.631" v="6019" actId="478"/>
        <pc:sldMkLst>
          <pc:docMk/>
          <pc:sldMk cId="2168630348" sldId="293"/>
        </pc:sldMkLst>
        <pc:spChg chg="del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1T21:47:22.831" v="3112" actId="478"/>
          <ac:spMkLst>
            <pc:docMk/>
            <pc:sldMk cId="2168630348" sldId="293"/>
            <ac:spMk id="5" creationId="{CEF96F7A-C382-40FC-9F6E-80BEF8794D04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6" creationId="{97D98DF2-03CE-4B28-8AF6-BD0334BCE6F7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7" creationId="{0137C303-5BA3-41AE-A66A-22480A82FF54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8" creationId="{2D6ABDB9-07BD-4BFC-B3DD-84E23B0559DB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9" creationId="{AE764DE9-36F9-4CB8-871A-2DDF6E465A8A}"/>
          </ac:spMkLst>
        </pc:spChg>
        <pc:spChg chg="add del mod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10" creationId="{80264B2D-A6B8-4677-8F80-9B17ED55A355}"/>
          </ac:spMkLst>
        </pc:spChg>
        <pc:spChg chg="add del mod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11" creationId="{631F7FFF-D8D3-4468-A9FA-7A8C8D7F7CA7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2" creationId="{4F3BEC8D-7D3A-4743-BCCF-5652055D0A35}"/>
          </ac:spMkLst>
        </pc:spChg>
        <pc:spChg chg="add mod">
          <ac:chgData name="Julie M Petersen" userId="6fc7cfdc-6116-41d4-9a87-1fac2e25d9fb" providerId="ADAL" clId="{8371E356-2D55-4EC2-96DE-583FF76CC90E}" dt="2022-02-12T19:38:27.771" v="4551" actId="1076"/>
          <ac:spMkLst>
            <pc:docMk/>
            <pc:sldMk cId="2168630348" sldId="293"/>
            <ac:spMk id="13" creationId="{3EC5198E-9CA9-4931-ADC8-6DA1C719139A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4" creationId="{56D93CAA-02BA-486F-A47E-B792582E5D61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5" creationId="{11AF82FE-652E-4054-873A-646CE1A90B0A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6" creationId="{69FC90B2-09B5-495D-B690-850CB5B73B59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2T19:46:49.484" v="4660" actId="1076"/>
          <ac:spMkLst>
            <pc:docMk/>
            <pc:sldMk cId="2168630348" sldId="293"/>
            <ac:spMk id="18" creationId="{79F0AAEE-1027-4125-8332-D5301379D17C}"/>
          </ac:spMkLst>
        </pc:spChg>
        <pc:spChg chg="add del mod">
          <ac:chgData name="Julie M Petersen" userId="6fc7cfdc-6116-41d4-9a87-1fac2e25d9fb" providerId="ADAL" clId="{8371E356-2D55-4EC2-96DE-583FF76CC90E}" dt="2022-02-12T19:45:12.574" v="4637" actId="478"/>
          <ac:spMkLst>
            <pc:docMk/>
            <pc:sldMk cId="2168630348" sldId="293"/>
            <ac:spMk id="26" creationId="{5F5441CC-C34E-4CD3-9B16-C00120FC385F}"/>
          </ac:spMkLst>
        </pc:spChg>
        <pc:graphicFrameChg chg="add mod ord modVis">
          <ac:chgData name="Julie M Petersen" userId="6fc7cfdc-6116-41d4-9a87-1fac2e25d9fb" providerId="ADAL" clId="{8371E356-2D55-4EC2-96DE-583FF76CC90E}" dt="2022-02-11T21:47:23.383" v="3127"/>
          <ac:graphicFrameMkLst>
            <pc:docMk/>
            <pc:sldMk cId="2168630348" sldId="293"/>
            <ac:graphicFrameMk id="22" creationId="{2321855E-34C6-45C2-8CF9-E48FA7ACF01C}"/>
          </ac:graphicFrameMkLst>
        </pc:graphicFrameChg>
        <pc:picChg chg="add del mod">
          <ac:chgData name="Julie M Petersen" userId="6fc7cfdc-6116-41d4-9a87-1fac2e25d9fb" providerId="ADAL" clId="{8371E356-2D55-4EC2-96DE-583FF76CC90E}" dt="2022-02-12T19:38:07.122" v="4544" actId="478"/>
          <ac:picMkLst>
            <pc:docMk/>
            <pc:sldMk cId="2168630348" sldId="293"/>
            <ac:picMk id="6" creationId="{B40D83B6-58C3-443F-B8E0-5735E6839D50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8" creationId="{5D5C3AD7-B33A-4101-934F-8A34C7554508}"/>
          </ac:picMkLst>
        </pc:picChg>
        <pc:picChg chg="add del mod modCrop">
          <ac:chgData name="Julie M Petersen" userId="6fc7cfdc-6116-41d4-9a87-1fac2e25d9fb" providerId="ADAL" clId="{8371E356-2D55-4EC2-96DE-583FF76CC90E}" dt="2022-02-12T19:37:14.222" v="4542" actId="478"/>
          <ac:picMkLst>
            <pc:docMk/>
            <pc:sldMk cId="2168630348" sldId="293"/>
            <ac:picMk id="19" creationId="{92B90FB2-1F18-4419-909D-52663196952A}"/>
          </ac:picMkLst>
        </pc:picChg>
        <pc:picChg chg="add del mod modCrop">
          <ac:chgData name="Julie M Petersen" userId="6fc7cfdc-6116-41d4-9a87-1fac2e25d9fb" providerId="ADAL" clId="{8371E356-2D55-4EC2-96DE-583FF76CC90E}" dt="2022-02-12T19:38:29.059" v="4552" actId="478"/>
          <ac:picMkLst>
            <pc:docMk/>
            <pc:sldMk cId="2168630348" sldId="293"/>
            <ac:picMk id="20" creationId="{DFAD4725-3095-49D1-A09D-49BE8CF23F46}"/>
          </ac:picMkLst>
        </pc:picChg>
        <pc:picChg chg="add del mod">
          <ac:chgData name="Julie M Petersen" userId="6fc7cfdc-6116-41d4-9a87-1fac2e25d9fb" providerId="ADAL" clId="{8371E356-2D55-4EC2-96DE-583FF76CC90E}" dt="2022-02-12T19:38:29.513" v="4553" actId="478"/>
          <ac:picMkLst>
            <pc:docMk/>
            <pc:sldMk cId="2168630348" sldId="293"/>
            <ac:picMk id="21" creationId="{DA460396-DB4F-4A8B-8EAD-5A1B9386903E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23" creationId="{CA78577C-9F7A-4F95-B674-610A97358326}"/>
          </ac:picMkLst>
        </pc:picChg>
        <pc:picChg chg="add del mod">
          <ac:chgData name="Julie M Petersen" userId="6fc7cfdc-6116-41d4-9a87-1fac2e25d9fb" providerId="ADAL" clId="{8371E356-2D55-4EC2-96DE-583FF76CC90E}" dt="2022-02-12T19:44:07.062" v="4627" actId="478"/>
          <ac:picMkLst>
            <pc:docMk/>
            <pc:sldMk cId="2168630348" sldId="293"/>
            <ac:picMk id="25" creationId="{6E20C079-FC5A-48CA-8230-7F6142C3116E}"/>
          </ac:picMkLst>
        </pc:picChg>
        <pc:picChg chg="add del mod">
          <ac:chgData name="Julie M Petersen" userId="6fc7cfdc-6116-41d4-9a87-1fac2e25d9fb" providerId="ADAL" clId="{8371E356-2D55-4EC2-96DE-583FF76CC90E}" dt="2022-02-12T19:45:12.939" v="4638" actId="478"/>
          <ac:picMkLst>
            <pc:docMk/>
            <pc:sldMk cId="2168630348" sldId="293"/>
            <ac:picMk id="28" creationId="{838964EF-65B0-402C-A624-2192FA693B9C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30" creationId="{1974D27B-B708-422B-814C-18D91CB93E1D}"/>
          </ac:picMkLst>
        </pc:picChg>
      </pc:sldChg>
      <pc:sldChg chg="addSp delSp modSp add mod ord">
        <pc:chgData name="Julie M Petersen" userId="6fc7cfdc-6116-41d4-9a87-1fac2e25d9fb" providerId="ADAL" clId="{8371E356-2D55-4EC2-96DE-583FF76CC90E}" dt="2022-02-12T21:41:44.590" v="6030" actId="478"/>
        <pc:sldMkLst>
          <pc:docMk/>
          <pc:sldMk cId="2860856227" sldId="294"/>
        </pc:sldMkLst>
        <pc:spChg chg="add del mod ord">
          <ac:chgData name="Julie M Petersen" userId="6fc7cfdc-6116-41d4-9a87-1fac2e25d9fb" providerId="ADAL" clId="{8371E356-2D55-4EC2-96DE-583FF76CC90E}" dt="2022-02-12T21:41:42.391" v="6029" actId="478"/>
          <ac:spMkLst>
            <pc:docMk/>
            <pc:sldMk cId="2860856227" sldId="294"/>
            <ac:spMk id="2" creationId="{35C72028-1D7C-4066-8E87-C465548E4F84}"/>
          </ac:spMkLst>
        </pc:spChg>
        <pc:spChg chg="add del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3" creationId="{B47DD0EB-BD28-4BAD-96AB-429B7B2DF7E4}"/>
          </ac:spMkLst>
        </pc:spChg>
        <pc:spChg chg="add del mod ord">
          <ac:chgData name="Julie M Petersen" userId="6fc7cfdc-6116-41d4-9a87-1fac2e25d9fb" providerId="ADAL" clId="{8371E356-2D55-4EC2-96DE-583FF76CC90E}" dt="2022-02-12T21:20:07.192" v="5407"/>
          <ac:spMkLst>
            <pc:docMk/>
            <pc:sldMk cId="2860856227" sldId="294"/>
            <ac:spMk id="4" creationId="{41DCB554-9FBA-499C-9220-FC85B517172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6" creationId="{CEFDCE74-AFDF-4859-9647-DA32210244F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7" creationId="{0AACCC8D-F2E3-4B11-9A9B-9E72AB4BE9DE}"/>
          </ac:spMkLst>
        </pc:spChg>
        <pc:spChg chg="add del mod ord">
          <ac:chgData name="Julie M Petersen" userId="6fc7cfdc-6116-41d4-9a87-1fac2e25d9fb" providerId="ADAL" clId="{8371E356-2D55-4EC2-96DE-583FF76CC90E}" dt="2022-02-12T21:41:44.590" v="6030" actId="478"/>
          <ac:spMkLst>
            <pc:docMk/>
            <pc:sldMk cId="2860856227" sldId="294"/>
            <ac:spMk id="10" creationId="{80264B2D-A6B8-4677-8F80-9B17ED55A355}"/>
          </ac:spMkLst>
        </pc:spChg>
        <pc:spChg chg="add del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11" creationId="{631F7FFF-D8D3-4468-A9FA-7A8C8D7F7CA7}"/>
          </ac:spMkLst>
        </pc:spChg>
        <pc:spChg chg="add del mod ord">
          <ac:chgData name="Julie M Petersen" userId="6fc7cfdc-6116-41d4-9a87-1fac2e25d9fb" providerId="ADAL" clId="{8371E356-2D55-4EC2-96DE-583FF76CC90E}" dt="2022-02-12T21:20:07.193" v="5411"/>
          <ac:spMkLst>
            <pc:docMk/>
            <pc:sldMk cId="2860856227" sldId="294"/>
            <ac:spMk id="12" creationId="{4F3BEC8D-7D3A-4743-BCCF-5652055D0A35}"/>
          </ac:spMkLst>
        </pc:spChg>
        <pc:spChg chg="add del">
          <ac:chgData name="Julie M Petersen" userId="6fc7cfdc-6116-41d4-9a87-1fac2e25d9fb" providerId="ADAL" clId="{8371E356-2D55-4EC2-96DE-583FF76CC90E}" dt="2022-02-11T21:48:31.431" v="3199" actId="478"/>
          <ac:spMkLst>
            <pc:docMk/>
            <pc:sldMk cId="2860856227" sldId="294"/>
            <ac:spMk id="13" creationId="{3EC5198E-9CA9-4931-ADC8-6DA1C719139A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3"/>
          <ac:spMkLst>
            <pc:docMk/>
            <pc:sldMk cId="2860856227" sldId="294"/>
            <ac:spMk id="14" creationId="{56D93CAA-02BA-486F-A47E-B792582E5D61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5"/>
          <ac:spMkLst>
            <pc:docMk/>
            <pc:sldMk cId="2860856227" sldId="294"/>
            <ac:spMk id="15" creationId="{11AF82FE-652E-4054-873A-646CE1A90B0A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7"/>
          <ac:spMkLst>
            <pc:docMk/>
            <pc:sldMk cId="2860856227" sldId="294"/>
            <ac:spMk id="16" creationId="{69FC90B2-09B5-495D-B690-850CB5B73B59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9"/>
          <ac:spMkLst>
            <pc:docMk/>
            <pc:sldMk cId="2860856227" sldId="294"/>
            <ac:spMk id="17" creationId="{32D960D0-36D5-424D-B72F-3E1F1712F1E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18" creationId="{07A5CB36-7388-4FAB-8C0A-417EB656CF03}"/>
          </ac:spMkLst>
        </pc:spChg>
        <pc:spChg chg="add del">
          <ac:chgData name="Julie M Petersen" userId="6fc7cfdc-6116-41d4-9a87-1fac2e25d9fb" providerId="ADAL" clId="{8371E356-2D55-4EC2-96DE-583FF76CC90E}" dt="2022-02-11T21:48:31.431" v="3199" actId="478"/>
          <ac:spMkLst>
            <pc:docMk/>
            <pc:sldMk cId="2860856227" sldId="294"/>
            <ac:spMk id="18" creationId="{79F0AAEE-1027-4125-8332-D5301379D17C}"/>
          </ac:spMkLst>
        </pc:spChg>
        <pc:spChg chg="add del mod">
          <ac:chgData name="Julie M Petersen" userId="6fc7cfdc-6116-41d4-9a87-1fac2e25d9fb" providerId="ADAL" clId="{8371E356-2D55-4EC2-96DE-583FF76CC90E}" dt="2022-02-12T20:43:57.619" v="4816" actId="478"/>
          <ac:spMkLst>
            <pc:docMk/>
            <pc:sldMk cId="2860856227" sldId="294"/>
            <ac:spMk id="19" creationId="{DDB1980A-B4AE-418C-BB98-BDEC30CF27AA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20" creationId="{47DDF9CB-98E3-4BA1-98C7-43E6E37D7FDD}"/>
          </ac:spMkLst>
        </pc:spChg>
        <pc:spChg chg="add del mod">
          <ac:chgData name="Julie M Petersen" userId="6fc7cfdc-6116-41d4-9a87-1fac2e25d9fb" providerId="ADAL" clId="{8371E356-2D55-4EC2-96DE-583FF76CC90E}" dt="2022-02-12T20:43:56.680" v="4815" actId="478"/>
          <ac:spMkLst>
            <pc:docMk/>
            <pc:sldMk cId="2860856227" sldId="294"/>
            <ac:spMk id="21" creationId="{E7B04145-C8EB-4484-BCA3-06C7102C7888}"/>
          </ac:spMkLst>
        </pc:spChg>
        <pc:spChg chg="add mod ord">
          <ac:chgData name="Julie M Petersen" userId="6fc7cfdc-6116-41d4-9a87-1fac2e25d9fb" providerId="ADAL" clId="{8371E356-2D55-4EC2-96DE-583FF76CC90E}" dt="2022-02-12T21:38:09.438" v="5727" actId="1076"/>
          <ac:spMkLst>
            <pc:docMk/>
            <pc:sldMk cId="2860856227" sldId="294"/>
            <ac:spMk id="23" creationId="{365CB03F-4C35-471D-94C1-772C12FC523D}"/>
          </ac:spMkLst>
        </pc:spChg>
        <pc:spChg chg="add del mod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23" creationId="{AC1F15A5-CEAE-4905-BE61-A34B398FBBFC}"/>
          </ac:spMkLst>
        </pc:spChg>
        <pc:spChg chg="add mod ord">
          <ac:chgData name="Julie M Petersen" userId="6fc7cfdc-6116-41d4-9a87-1fac2e25d9fb" providerId="ADAL" clId="{8371E356-2D55-4EC2-96DE-583FF76CC90E}" dt="2022-02-12T21:20:07.196" v="5421"/>
          <ac:spMkLst>
            <pc:docMk/>
            <pc:sldMk cId="2860856227" sldId="294"/>
            <ac:spMk id="27" creationId="{94F2638A-E321-4A5D-B306-CE121226085C}"/>
          </ac:spMkLst>
        </pc:spChg>
        <pc:spChg chg="add del mod">
          <ac:chgData name="Julie M Petersen" userId="6fc7cfdc-6116-41d4-9a87-1fac2e25d9fb" providerId="ADAL" clId="{8371E356-2D55-4EC2-96DE-583FF76CC90E}" dt="2022-02-12T10:11:24.484" v="3927" actId="478"/>
          <ac:spMkLst>
            <pc:docMk/>
            <pc:sldMk cId="2860856227" sldId="294"/>
            <ac:spMk id="28" creationId="{F762916B-FFB8-4248-8DA2-C08C90C170C6}"/>
          </ac:spMkLst>
        </pc:spChg>
        <pc:spChg chg="add del mod">
          <ac:chgData name="Julie M Petersen" userId="6fc7cfdc-6116-41d4-9a87-1fac2e25d9fb" providerId="ADAL" clId="{8371E356-2D55-4EC2-96DE-583FF76CC90E}" dt="2022-02-12T10:11:25.492" v="3928" actId="478"/>
          <ac:spMkLst>
            <pc:docMk/>
            <pc:sldMk cId="2860856227" sldId="294"/>
            <ac:spMk id="29" creationId="{358D6648-67A1-436E-ADC3-10E350A6677E}"/>
          </ac:spMkLst>
        </pc:spChg>
        <pc:graphicFrameChg chg="mod">
          <ac:chgData name="Julie M Petersen" userId="6fc7cfdc-6116-41d4-9a87-1fac2e25d9fb" providerId="ADAL" clId="{8371E356-2D55-4EC2-96DE-583FF76CC90E}" dt="2022-02-12T21:20:07.200" v="5433"/>
          <ac:graphicFrameMkLst>
            <pc:docMk/>
            <pc:sldMk cId="2860856227" sldId="294"/>
            <ac:graphicFrameMk id="22" creationId="{2321855E-34C6-45C2-8CF9-E48FA7ACF01C}"/>
          </ac:graphicFrameMkLst>
        </pc:graphicFrameChg>
        <pc:picChg chg="add del mod">
          <ac:chgData name="Julie M Petersen" userId="6fc7cfdc-6116-41d4-9a87-1fac2e25d9fb" providerId="ADAL" clId="{8371E356-2D55-4EC2-96DE-583FF76CC90E}" dt="2022-02-12T20:43:38.037" v="4812" actId="478"/>
          <ac:picMkLst>
            <pc:docMk/>
            <pc:sldMk cId="2860856227" sldId="294"/>
            <ac:picMk id="5" creationId="{93EFAF28-E145-4873-9AD1-ADAB67E4542E}"/>
          </ac:picMkLst>
        </pc:picChg>
        <pc:picChg chg="add del mod ord">
          <ac:chgData name="Julie M Petersen" userId="6fc7cfdc-6116-41d4-9a87-1fac2e25d9fb" providerId="ADAL" clId="{8371E356-2D55-4EC2-96DE-583FF76CC90E}" dt="2022-02-12T21:17:23.192" v="5273" actId="478"/>
          <ac:picMkLst>
            <pc:docMk/>
            <pc:sldMk cId="2860856227" sldId="294"/>
            <ac:picMk id="9" creationId="{3F46F6B8-8F6A-4900-BE52-09B5FA8597B4}"/>
          </ac:picMkLst>
        </pc:picChg>
        <pc:picChg chg="add mod ord">
          <ac:chgData name="Julie M Petersen" userId="6fc7cfdc-6116-41d4-9a87-1fac2e25d9fb" providerId="ADAL" clId="{8371E356-2D55-4EC2-96DE-583FF76CC90E}" dt="2022-02-12T21:38:07.266" v="5726" actId="1076"/>
          <ac:picMkLst>
            <pc:docMk/>
            <pc:sldMk cId="2860856227" sldId="294"/>
            <ac:picMk id="13" creationId="{E5CFFCF1-006F-43B1-A5E5-E19B0689AD36}"/>
          </ac:picMkLst>
        </pc:picChg>
        <pc:picChg chg="add del">
          <ac:chgData name="Julie M Petersen" userId="6fc7cfdc-6116-41d4-9a87-1fac2e25d9fb" providerId="ADAL" clId="{8371E356-2D55-4EC2-96DE-583FF76CC90E}" dt="2022-02-11T21:48:31.431" v="3199" actId="478"/>
          <ac:picMkLst>
            <pc:docMk/>
            <pc:sldMk cId="2860856227" sldId="294"/>
            <ac:picMk id="19" creationId="{92B90FB2-1F18-4419-909D-52663196952A}"/>
          </ac:picMkLst>
        </pc:picChg>
        <pc:picChg chg="add del">
          <ac:chgData name="Julie M Petersen" userId="6fc7cfdc-6116-41d4-9a87-1fac2e25d9fb" providerId="ADAL" clId="{8371E356-2D55-4EC2-96DE-583FF76CC90E}" dt="2022-02-11T21:48:31.431" v="3199" actId="478"/>
          <ac:picMkLst>
            <pc:docMk/>
            <pc:sldMk cId="2860856227" sldId="294"/>
            <ac:picMk id="20" creationId="{DFAD4725-3095-49D1-A09D-49BE8CF23F46}"/>
          </ac:picMkLst>
        </pc:picChg>
        <pc:picChg chg="add del">
          <ac:chgData name="Julie M Petersen" userId="6fc7cfdc-6116-41d4-9a87-1fac2e25d9fb" providerId="ADAL" clId="{8371E356-2D55-4EC2-96DE-583FF76CC90E}" dt="2022-02-11T21:48:32.875" v="3200" actId="478"/>
          <ac:picMkLst>
            <pc:docMk/>
            <pc:sldMk cId="2860856227" sldId="294"/>
            <ac:picMk id="21" creationId="{DA460396-DB4F-4A8B-8EAD-5A1B9386903E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4" creationId="{80AE2643-3A6C-4E03-82B5-C40EA3788B19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5" creationId="{AE34B15A-203E-4396-90D1-948ED038BE34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2T21:41:30.348" v="6024" actId="478"/>
        <pc:sldMkLst>
          <pc:docMk/>
          <pc:sldMk cId="2661093159" sldId="295"/>
        </pc:sldMkLst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1.265" v="5365"/>
          <ac:spMkLst>
            <pc:docMk/>
            <pc:sldMk cId="2661093159" sldId="295"/>
            <ac:spMk id="23" creationId="{AC1F15A5-CEAE-4905-BE61-A34B398FBBFC}"/>
          </ac:spMkLst>
        </pc:spChg>
        <pc:picChg chg="add del mod">
          <ac:chgData name="Julie M Petersen" userId="6fc7cfdc-6116-41d4-9a87-1fac2e25d9fb" providerId="ADAL" clId="{8371E356-2D55-4EC2-96DE-583FF76CC90E}" dt="2022-02-12T20:00:32.540" v="4667" actId="478"/>
          <ac:picMkLst>
            <pc:docMk/>
            <pc:sldMk cId="2661093159" sldId="295"/>
            <ac:picMk id="6" creationId="{F5B114E5-307C-4057-80A3-95C4CEE1716E}"/>
          </ac:picMkLst>
        </pc:picChg>
        <pc:picChg chg="add del mod">
          <ac:chgData name="Julie M Petersen" userId="6fc7cfdc-6116-41d4-9a87-1fac2e25d9fb" providerId="ADAL" clId="{8371E356-2D55-4EC2-96DE-583FF76CC90E}" dt="2022-02-12T20:05:48.442" v="4689" actId="478"/>
          <ac:picMkLst>
            <pc:docMk/>
            <pc:sldMk cId="2661093159" sldId="295"/>
            <ac:picMk id="8" creationId="{AF4E2360-7138-41B5-A4B0-43C86E5DC7ED}"/>
          </ac:picMkLst>
        </pc:picChg>
        <pc:picChg chg="add del mod">
          <ac:chgData name="Julie M Petersen" userId="6fc7cfdc-6116-41d4-9a87-1fac2e25d9fb" providerId="ADAL" clId="{8371E356-2D55-4EC2-96DE-583FF76CC90E}" dt="2022-02-12T20:05:25.045" v="4686" actId="478"/>
          <ac:picMkLst>
            <pc:docMk/>
            <pc:sldMk cId="2661093159" sldId="295"/>
            <ac:picMk id="13" creationId="{CDB6FE43-8FEE-44DF-9529-0C942A5C9589}"/>
          </ac:picMkLst>
        </pc:picChg>
        <pc:picChg chg="add del mod">
          <ac:chgData name="Julie M Petersen" userId="6fc7cfdc-6116-41d4-9a87-1fac2e25d9fb" providerId="ADAL" clId="{8371E356-2D55-4EC2-96DE-583FF76CC90E}" dt="2022-02-12T20:01:36.703" v="4674" actId="478"/>
          <ac:picMkLst>
            <pc:docMk/>
            <pc:sldMk cId="2661093159" sldId="295"/>
            <ac:picMk id="19" creationId="{D483CA7F-1195-4B50-B647-7BF62A9BA531}"/>
          </ac:picMkLst>
        </pc:picChg>
        <pc:picChg chg="add del mod">
          <ac:chgData name="Julie M Petersen" userId="6fc7cfdc-6116-41d4-9a87-1fac2e25d9fb" providerId="ADAL" clId="{8371E356-2D55-4EC2-96DE-583FF76CC90E}" dt="2022-02-12T20:16:23.136" v="4693" actId="478"/>
          <ac:picMkLst>
            <pc:docMk/>
            <pc:sldMk cId="2661093159" sldId="295"/>
            <ac:picMk id="21" creationId="{5179768D-AE73-44EF-8823-314AD4B6F017}"/>
          </ac:picMkLst>
        </pc:picChg>
        <pc:picChg chg="del mod">
          <ac:chgData name="Julie M Petersen" userId="6fc7cfdc-6116-41d4-9a87-1fac2e25d9fb" providerId="ADAL" clId="{8371E356-2D55-4EC2-96DE-583FF76CC90E}" dt="2022-02-12T19:34:25.354" v="4508" actId="478"/>
          <ac:picMkLst>
            <pc:docMk/>
            <pc:sldMk cId="2661093159" sldId="295"/>
            <ac:picMk id="24" creationId="{80AE2643-3A6C-4E03-82B5-C40EA3788B19}"/>
          </ac:picMkLst>
        </pc:picChg>
        <pc:picChg chg="del mod">
          <ac:chgData name="Julie M Petersen" userId="6fc7cfdc-6116-41d4-9a87-1fac2e25d9fb" providerId="ADAL" clId="{8371E356-2D55-4EC2-96DE-583FF76CC90E}" dt="2022-02-12T19:53:48.588" v="4661" actId="478"/>
          <ac:picMkLst>
            <pc:docMk/>
            <pc:sldMk cId="2661093159" sldId="295"/>
            <ac:picMk id="25" creationId="{AE34B15A-203E-4396-90D1-948ED038BE34}"/>
          </ac:picMkLst>
        </pc:picChg>
        <pc:picChg chg="del mod">
          <ac:chgData name="Julie M Petersen" userId="6fc7cfdc-6116-41d4-9a87-1fac2e25d9fb" providerId="ADAL" clId="{8371E356-2D55-4EC2-96DE-583FF76CC90E}" dt="2022-02-12T19:34:25.885" v="4509" actId="478"/>
          <ac:picMkLst>
            <pc:docMk/>
            <pc:sldMk cId="2661093159" sldId="295"/>
            <ac:picMk id="26" creationId="{AF1E7EBF-ECA9-4973-B57A-005F9DBE5CFC}"/>
          </ac:picMkLst>
        </pc:picChg>
        <pc:picChg chg="add del mod">
          <ac:chgData name="Julie M Petersen" userId="6fc7cfdc-6116-41d4-9a87-1fac2e25d9fb" providerId="ADAL" clId="{8371E356-2D55-4EC2-96DE-583FF76CC90E}" dt="2022-02-12T20:05:34.589" v="4688" actId="478"/>
          <ac:picMkLst>
            <pc:docMk/>
            <pc:sldMk cId="2661093159" sldId="295"/>
            <ac:picMk id="28" creationId="{0C940505-D356-409C-89FF-A334665FA723}"/>
          </ac:picMkLst>
        </pc:picChg>
        <pc:picChg chg="add del mod">
          <ac:chgData name="Julie M Petersen" userId="6fc7cfdc-6116-41d4-9a87-1fac2e25d9fb" providerId="ADAL" clId="{8371E356-2D55-4EC2-96DE-583FF76CC90E}" dt="2022-02-12T20:17:05.267" v="4698" actId="478"/>
          <ac:picMkLst>
            <pc:docMk/>
            <pc:sldMk cId="2661093159" sldId="295"/>
            <ac:picMk id="30" creationId="{51CE4CF5-91E2-40E5-9C0C-68599DC99513}"/>
          </ac:picMkLst>
        </pc:picChg>
        <pc:picChg chg="add del mod">
          <ac:chgData name="Julie M Petersen" userId="6fc7cfdc-6116-41d4-9a87-1fac2e25d9fb" providerId="ADAL" clId="{8371E356-2D55-4EC2-96DE-583FF76CC90E}" dt="2022-02-12T21:36:17.665" v="5702" actId="478"/>
          <ac:picMkLst>
            <pc:docMk/>
            <pc:sldMk cId="2661093159" sldId="295"/>
            <ac:picMk id="32" creationId="{AF491EF3-0E15-42E5-B99D-217B041372E0}"/>
          </ac:picMkLst>
        </pc:picChg>
        <pc:picChg chg="add mod">
          <ac:chgData name="Julie M Petersen" userId="6fc7cfdc-6116-41d4-9a87-1fac2e25d9fb" providerId="ADAL" clId="{8371E356-2D55-4EC2-96DE-583FF76CC90E}" dt="2022-02-12T21:36:30.401" v="5707" actId="1076"/>
          <ac:picMkLst>
            <pc:docMk/>
            <pc:sldMk cId="2661093159" sldId="295"/>
            <ac:picMk id="34" creationId="{33476C11-7A40-41CB-AD10-B671D10B63D2}"/>
          </ac:picMkLst>
        </pc:picChg>
      </pc:sldChg>
      <pc:sldChg chg="add del">
        <pc:chgData name="Julie M Petersen" userId="6fc7cfdc-6116-41d4-9a87-1fac2e25d9fb" providerId="ADAL" clId="{8371E356-2D55-4EC2-96DE-583FF76CC90E}" dt="2022-02-11T23:17:46.959" v="3597" actId="47"/>
        <pc:sldMkLst>
          <pc:docMk/>
          <pc:sldMk cId="3885648522" sldId="296"/>
        </pc:sldMkLst>
      </pc:sldChg>
      <pc:sldChg chg="addSp delSp modSp add del mod">
        <pc:chgData name="Julie M Petersen" userId="6fc7cfdc-6116-41d4-9a87-1fac2e25d9fb" providerId="ADAL" clId="{8371E356-2D55-4EC2-96DE-583FF76CC90E}" dt="2022-02-11T22:14:30.873" v="3562" actId="47"/>
        <pc:sldMkLst>
          <pc:docMk/>
          <pc:sldMk cId="1731897327" sldId="297"/>
        </pc:sldMkLst>
        <pc:spChg chg="mod">
          <ac:chgData name="Julie M Petersen" userId="6fc7cfdc-6116-41d4-9a87-1fac2e25d9fb" providerId="ADAL" clId="{8371E356-2D55-4EC2-96DE-583FF76CC90E}" dt="2022-02-11T22:14:01.222" v="3552" actId="1076"/>
          <ac:spMkLst>
            <pc:docMk/>
            <pc:sldMk cId="1731897327" sldId="297"/>
            <ac:spMk id="15" creationId="{66DD2F3A-D933-4680-B7AA-5D0E3437AF6A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2" creationId="{078D6843-85AD-4E3B-A977-644D1AE748EC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3" creationId="{FCAD53A5-045A-4381-8322-85F86FA1C92A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4" creationId="{94DC8908-576C-4958-BA0C-2CDC54E0FBCC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5" creationId="{E892D85B-2260-41BE-9143-A16657CA7D64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6" creationId="{C3E3F465-6FCE-45B5-8C29-97AD0061AC39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7" creationId="{7C4D3C34-E748-4626-909D-415CB56092A8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8" creationId="{75A563F9-60E4-4AEE-92C5-D4FB37AE8AC5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9" creationId="{75C3CF07-FFC2-4E2F-9A24-6ED0896816D0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0" creationId="{0161D9A4-2036-41DA-BCEB-98B4F9496C66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1" creationId="{706B9BBA-8BAE-4EEB-A0A5-1B119265CA2D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2" creationId="{A41CD79B-35B0-468C-905B-E1F45AB75E14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6" creationId="{38C84068-A726-43A8-A7AD-B562E55AE2B9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48" creationId="{56807A0A-F73E-49CB-8F18-E0A50A7CAA25}"/>
          </ac:spMkLst>
        </pc:spChg>
        <pc:graphicFrameChg chg="mod">
          <ac:chgData name="Julie M Petersen" userId="6fc7cfdc-6116-41d4-9a87-1fac2e25d9fb" providerId="ADAL" clId="{8371E356-2D55-4EC2-96DE-583FF76CC90E}" dt="2022-02-11T22:14:00.207" v="3550"/>
          <ac:graphicFrameMkLst>
            <pc:docMk/>
            <pc:sldMk cId="1731897327" sldId="297"/>
            <ac:graphicFrameMk id="10" creationId="{02AB0703-9247-405D-AF21-D2C16E53E99F}"/>
          </ac:graphicFrameMkLst>
        </pc:graphicFrameChg>
        <pc:picChg chg="add del">
          <ac:chgData name="Julie M Petersen" userId="6fc7cfdc-6116-41d4-9a87-1fac2e25d9fb" providerId="ADAL" clId="{8371E356-2D55-4EC2-96DE-583FF76CC90E}" dt="2022-02-11T22:14:01.856" v="3553" actId="478"/>
          <ac:picMkLst>
            <pc:docMk/>
            <pc:sldMk cId="1731897327" sldId="297"/>
            <ac:picMk id="4101" creationId="{7D101466-56C2-4CA0-92B0-3262B29B1232}"/>
          </ac:picMkLst>
        </pc:picChg>
        <pc:picChg chg="add del">
          <ac:chgData name="Julie M Petersen" userId="6fc7cfdc-6116-41d4-9a87-1fac2e25d9fb" providerId="ADAL" clId="{8371E356-2D55-4EC2-96DE-583FF76CC90E}" dt="2022-02-11T22:14:01.856" v="3553" actId="478"/>
          <ac:picMkLst>
            <pc:docMk/>
            <pc:sldMk cId="1731897327" sldId="297"/>
            <ac:picMk id="4103" creationId="{12ECE2B7-024E-4602-BEE7-E973BA4688C0}"/>
          </ac:picMkLst>
        </pc:pic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34" creationId="{D31363D3-E7FC-4AB8-9CDD-6B87404ECBC9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39" creationId="{3A6DF7BB-FAE7-4680-8073-CE3434629E62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42" creationId="{0F3012C7-60CB-46BE-B248-9F1B06CA197C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45" creationId="{3D2447AA-C2AB-463C-861C-D1AF81ACB013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1T22:13:17.146" v="3511" actId="47"/>
        <pc:sldMkLst>
          <pc:docMk/>
          <pc:sldMk cId="3197415544" sldId="297"/>
        </pc:sldMkLst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4" creationId="{56D93CAA-02BA-486F-A47E-B792582E5D61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5" creationId="{11AF82FE-652E-4054-873A-646CE1A90B0A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6" creationId="{69FC90B2-09B5-495D-B690-850CB5B73B59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1T22:12:36.462" v="3509" actId="1076"/>
          <ac:spMkLst>
            <pc:docMk/>
            <pc:sldMk cId="3197415544" sldId="297"/>
            <ac:spMk id="18" creationId="{CB5C0B4E-5A3C-4E73-BB99-87BB829A03D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19" creationId="{8E3F7796-5CFE-4B44-99DC-C7D194DA6A6F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0" creationId="{0BF076A8-C10D-49D6-9BDA-E2F898AB2482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1" creationId="{B831389E-7281-4577-A5F0-93F95B1C9049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3" creationId="{C5CE2461-B498-4355-8458-D46F1FFC64CE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4" creationId="{6405FD56-C2B4-4030-A81D-0519EFC145C1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5" creationId="{771E91A4-9927-406F-95D9-C93A8DC00E9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6" creationId="{B72A617F-8306-465C-8394-2E17BDFEBAD4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7" creationId="{94F2638A-E321-4A5D-B306-CE121226085C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8" creationId="{F762916B-FFB8-4248-8DA2-C08C90C170C6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9" creationId="{358D6648-67A1-436E-ADC3-10E350A6677E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0" creationId="{C5A23B2F-C42E-4A91-A5C8-CDB01767BCD5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1" creationId="{037EB346-5244-42C0-9915-AA61CED3C0C6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2" creationId="{A9A2041E-C012-475E-B99D-7002A371A84F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5" creationId="{C966A0B4-898E-4B52-8C2E-0510D886D2F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6" creationId="{0F6A313F-F7B4-4106-BEE6-983D50859E27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41" creationId="{12F7D872-457C-443F-99F6-70AEAC669616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2" creationId="{179319ED-DA76-4106-A4C1-2ED21C79854F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3" creationId="{E136FAF0-3AEC-44C0-AEEB-65F44EDF6EF3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4" creationId="{80A0AF0A-6BB6-40CE-BCCB-785A029E202A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5" creationId="{EFDB2D20-110A-4599-A7DF-E921AF964123}"/>
          </ac:spMkLst>
        </pc:spChg>
        <pc:picChg chg="add mod">
          <ac:chgData name="Julie M Petersen" userId="6fc7cfdc-6116-41d4-9a87-1fac2e25d9fb" providerId="ADAL" clId="{8371E356-2D55-4EC2-96DE-583FF76CC90E}" dt="2022-02-11T22:12:43.890" v="3510" actId="1076"/>
          <ac:picMkLst>
            <pc:docMk/>
            <pc:sldMk cId="3197415544" sldId="297"/>
            <ac:picMk id="33" creationId="{1F19C4DA-E5D8-4F7F-BEB3-19F821B5F481}"/>
          </ac:picMkLst>
        </pc:picChg>
        <pc:picChg chg="add mod">
          <ac:chgData name="Julie M Petersen" userId="6fc7cfdc-6116-41d4-9a87-1fac2e25d9fb" providerId="ADAL" clId="{8371E356-2D55-4EC2-96DE-583FF76CC90E}" dt="2022-02-11T22:12:43.890" v="3510" actId="1076"/>
          <ac:picMkLst>
            <pc:docMk/>
            <pc:sldMk cId="3197415544" sldId="297"/>
            <ac:picMk id="34" creationId="{40B68B13-FDE2-4E1A-81E7-F62684F645F3}"/>
          </ac:picMkLst>
        </pc:pic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7" creationId="{B6FBA770-1073-45E8-8780-874DEF6E8AFF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8" creationId="{F91FFD88-6136-448D-8546-D5F46C4CBD4F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9" creationId="{FD75DA75-9F6F-4EBC-BBCA-7F4C8B52A1A0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40" creationId="{C774413B-9263-4435-BF1C-FBCD4F07218F}"/>
          </ac:cxnSpMkLst>
        </pc:cxnChg>
      </pc:sldChg>
      <pc:sldChg chg="addSp delSp modSp add mod">
        <pc:chgData name="Julie M Petersen" userId="6fc7cfdc-6116-41d4-9a87-1fac2e25d9fb" providerId="ADAL" clId="{8371E356-2D55-4EC2-96DE-583FF76CC90E}" dt="2022-02-12T21:46:12.948" v="6293" actId="1076"/>
        <pc:sldMkLst>
          <pc:docMk/>
          <pc:sldMk cId="4085661162" sldId="298"/>
        </pc:sldMkLst>
        <pc:spChg chg="del">
          <ac:chgData name="Julie M Petersen" userId="6fc7cfdc-6116-41d4-9a87-1fac2e25d9fb" providerId="ADAL" clId="{8371E356-2D55-4EC2-96DE-583FF76CC90E}" dt="2022-02-12T21:41:55.954" v="6033" actId="478"/>
          <ac:spMkLst>
            <pc:docMk/>
            <pc:sldMk cId="4085661162" sldId="298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55.954" v="6033" actId="478"/>
          <ac:spMkLst>
            <pc:docMk/>
            <pc:sldMk cId="4085661162" sldId="298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4" creationId="{56D93CAA-02BA-486F-A47E-B792582E5D61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5" creationId="{11AF82FE-652E-4054-873A-646CE1A90B0A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6" creationId="{69FC90B2-09B5-495D-B690-850CB5B73B59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18" creationId="{05758C7A-C527-48E1-8C53-4BDAB8868AD1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19" creationId="{AC9870D7-1CAC-499E-BEEB-ED169B269B67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20" creationId="{D89501DF-347D-4BC7-90FD-2FA0C0E9412C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21" creationId="{222982D5-4843-43F7-A9E8-04E4616157B9}"/>
          </ac:spMkLst>
        </pc:spChg>
        <pc:spChg chg="add mod">
          <ac:chgData name="Julie M Petersen" userId="6fc7cfdc-6116-41d4-9a87-1fac2e25d9fb" providerId="ADAL" clId="{8371E356-2D55-4EC2-96DE-583FF76CC90E}" dt="2022-02-12T21:46:12.948" v="6293" actId="1076"/>
          <ac:spMkLst>
            <pc:docMk/>
            <pc:sldMk cId="4085661162" sldId="298"/>
            <ac:spMk id="23" creationId="{4B0C162A-B7C8-4A93-8399-1C5CF97530FC}"/>
          </ac:spMkLst>
        </pc:spChg>
        <pc:spChg chg="add mod">
          <ac:chgData name="Julie M Petersen" userId="6fc7cfdc-6116-41d4-9a87-1fac2e25d9fb" providerId="ADAL" clId="{8371E356-2D55-4EC2-96DE-583FF76CC90E}" dt="2022-02-12T20:47:00.653" v="4895" actId="1076"/>
          <ac:spMkLst>
            <pc:docMk/>
            <pc:sldMk cId="4085661162" sldId="298"/>
            <ac:spMk id="24" creationId="{F8CBF747-E455-4165-9C17-AE7BCC823FC1}"/>
          </ac:spMkLst>
        </pc:spChg>
        <pc:spChg chg="add mod">
          <ac:chgData name="Julie M Petersen" userId="6fc7cfdc-6116-41d4-9a87-1fac2e25d9fb" providerId="ADAL" clId="{8371E356-2D55-4EC2-96DE-583FF76CC90E}" dt="2022-02-12T20:47:01.889" v="4896" actId="1076"/>
          <ac:spMkLst>
            <pc:docMk/>
            <pc:sldMk cId="4085661162" sldId="298"/>
            <ac:spMk id="25" creationId="{52A308DB-3408-4151-B0B5-BE95FC606277}"/>
          </ac:spMkLst>
        </pc:spChg>
        <pc:spChg chg="add mod">
          <ac:chgData name="Julie M Petersen" userId="6fc7cfdc-6116-41d4-9a87-1fac2e25d9fb" providerId="ADAL" clId="{8371E356-2D55-4EC2-96DE-583FF76CC90E}" dt="2022-02-12T20:47:03.081" v="4897" actId="1076"/>
          <ac:spMkLst>
            <pc:docMk/>
            <pc:sldMk cId="4085661162" sldId="298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7" creationId="{94F2638A-E321-4A5D-B306-CE121226085C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8" creationId="{F762916B-FFB8-4248-8DA2-C08C90C170C6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9" creationId="{358D6648-67A1-436E-ADC3-10E350A6677E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0" creationId="{B3084DB5-514D-49A0-9CCC-46664D5E09A2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1" creationId="{32DA78EC-E1FE-4462-9E53-3519D03385DD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2" creationId="{1188D51F-F3D1-4698-ACAD-EEE1352D4B64}"/>
          </ac:spMkLst>
        </pc:spChg>
        <pc:spChg chg="add mod">
          <ac:chgData name="Julie M Petersen" userId="6fc7cfdc-6116-41d4-9a87-1fac2e25d9fb" providerId="ADAL" clId="{8371E356-2D55-4EC2-96DE-583FF76CC90E}" dt="2022-02-12T20:47:07.692" v="4900" actId="1076"/>
          <ac:spMkLst>
            <pc:docMk/>
            <pc:sldMk cId="4085661162" sldId="298"/>
            <ac:spMk id="33" creationId="{6A17459F-474C-408B-85D7-7EFC0759A661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4" creationId="{008692EF-7504-446C-97F7-EAD9B24F4747}"/>
          </ac:spMkLst>
        </pc:spChg>
        <pc:spChg chg="add mod">
          <ac:chgData name="Julie M Petersen" userId="6fc7cfdc-6116-41d4-9a87-1fac2e25d9fb" providerId="ADAL" clId="{8371E356-2D55-4EC2-96DE-583FF76CC90E}" dt="2022-02-12T21:06:48.582" v="4980" actId="1076"/>
          <ac:spMkLst>
            <pc:docMk/>
            <pc:sldMk cId="4085661162" sldId="298"/>
            <ac:spMk id="35" creationId="{BF6FB419-77FB-4AE2-ABDE-62127EF0D3FA}"/>
          </ac:spMkLst>
        </pc:spChg>
        <pc:spChg chg="add mod">
          <ac:chgData name="Julie M Petersen" userId="6fc7cfdc-6116-41d4-9a87-1fac2e25d9fb" providerId="ADAL" clId="{8371E356-2D55-4EC2-96DE-583FF76CC90E}" dt="2022-02-12T21:13:21.086" v="5253" actId="1076"/>
          <ac:spMkLst>
            <pc:docMk/>
            <pc:sldMk cId="4085661162" sldId="298"/>
            <ac:spMk id="36" creationId="{577E2EF5-8BD2-4AA7-9C21-209087FD0C68}"/>
          </ac:spMkLst>
        </pc:spChg>
        <pc:spChg chg="add mod">
          <ac:chgData name="Julie M Petersen" userId="6fc7cfdc-6116-41d4-9a87-1fac2e25d9fb" providerId="ADAL" clId="{8371E356-2D55-4EC2-96DE-583FF76CC90E}" dt="2022-02-12T21:13:28.335" v="5255" actId="1076"/>
          <ac:spMkLst>
            <pc:docMk/>
            <pc:sldMk cId="4085661162" sldId="298"/>
            <ac:spMk id="39" creationId="{5FD253E2-6F3B-42B0-8ECC-9E25A70716F2}"/>
          </ac:spMkLst>
        </pc:spChg>
        <pc:spChg chg="add mod">
          <ac:chgData name="Julie M Petersen" userId="6fc7cfdc-6116-41d4-9a87-1fac2e25d9fb" providerId="ADAL" clId="{8371E356-2D55-4EC2-96DE-583FF76CC90E}" dt="2022-02-12T21:13:30.337" v="5256" actId="1076"/>
          <ac:spMkLst>
            <pc:docMk/>
            <pc:sldMk cId="4085661162" sldId="298"/>
            <ac:spMk id="40" creationId="{EA564B02-0C18-487A-AF46-F33426217244}"/>
          </ac:spMkLst>
        </pc:spChg>
        <pc:spChg chg="add mod">
          <ac:chgData name="Julie M Petersen" userId="6fc7cfdc-6116-41d4-9a87-1fac2e25d9fb" providerId="ADAL" clId="{8371E356-2D55-4EC2-96DE-583FF76CC90E}" dt="2022-02-12T21:13:38.362" v="5258" actId="1076"/>
          <ac:spMkLst>
            <pc:docMk/>
            <pc:sldMk cId="4085661162" sldId="298"/>
            <ac:spMk id="45" creationId="{340E5E31-EBA7-4CA1-947D-4C4E2F3DE990}"/>
          </ac:spMkLst>
        </pc:spChg>
        <pc:spChg chg="add mod">
          <ac:chgData name="Julie M Petersen" userId="6fc7cfdc-6116-41d4-9a87-1fac2e25d9fb" providerId="ADAL" clId="{8371E356-2D55-4EC2-96DE-583FF76CC90E}" dt="2022-02-12T21:14:23.464" v="5269" actId="1076"/>
          <ac:spMkLst>
            <pc:docMk/>
            <pc:sldMk cId="4085661162" sldId="298"/>
            <ac:spMk id="46" creationId="{653DF8EC-12D1-4EF8-BA42-A387BC1B5D63}"/>
          </ac:spMkLst>
        </pc:spChg>
        <pc:spChg chg="add mod">
          <ac:chgData name="Julie M Petersen" userId="6fc7cfdc-6116-41d4-9a87-1fac2e25d9fb" providerId="ADAL" clId="{8371E356-2D55-4EC2-96DE-583FF76CC90E}" dt="2022-02-12T21:14:38.652" v="5271" actId="1076"/>
          <ac:spMkLst>
            <pc:docMk/>
            <pc:sldMk cId="4085661162" sldId="298"/>
            <ac:spMk id="47" creationId="{66752542-6A33-4410-B94E-A1B87516F831}"/>
          </ac:spMkLst>
        </pc:spChg>
        <pc:picChg chg="add mod">
          <ac:chgData name="Julie M Petersen" userId="6fc7cfdc-6116-41d4-9a87-1fac2e25d9fb" providerId="ADAL" clId="{8371E356-2D55-4EC2-96DE-583FF76CC90E}" dt="2022-02-12T21:06:39.732" v="4976" actId="1076"/>
          <ac:picMkLst>
            <pc:docMk/>
            <pc:sldMk cId="4085661162" sldId="298"/>
            <ac:picMk id="5" creationId="{A12FA880-6290-4B45-88B6-E547643E9F18}"/>
          </ac:picMkLst>
        </pc:picChg>
        <pc:picChg chg="add del mod">
          <ac:chgData name="Julie M Petersen" userId="6fc7cfdc-6116-41d4-9a87-1fac2e25d9fb" providerId="ADAL" clId="{8371E356-2D55-4EC2-96DE-583FF76CC90E}" dt="2022-02-12T21:06:35.045" v="4973" actId="478"/>
          <ac:picMkLst>
            <pc:docMk/>
            <pc:sldMk cId="4085661162" sldId="298"/>
            <ac:picMk id="37" creationId="{648D60E8-9829-4718-8706-7F0ECFA6E456}"/>
          </ac:picMkLst>
        </pc:picChg>
        <pc:picChg chg="add mod">
          <ac:chgData name="Julie M Petersen" userId="6fc7cfdc-6116-41d4-9a87-1fac2e25d9fb" providerId="ADAL" clId="{8371E356-2D55-4EC2-96DE-583FF76CC90E}" dt="2022-02-12T21:06:44.775" v="4979" actId="1076"/>
          <ac:picMkLst>
            <pc:docMk/>
            <pc:sldMk cId="4085661162" sldId="298"/>
            <ac:picMk id="38" creationId="{E9D3313F-E0E1-4A2E-B92F-0F21C3CFC02A}"/>
          </ac:picMkLst>
        </pc:picChg>
        <pc:picChg chg="add del">
          <ac:chgData name="Julie M Petersen" userId="6fc7cfdc-6116-41d4-9a87-1fac2e25d9fb" providerId="ADAL" clId="{8371E356-2D55-4EC2-96DE-583FF76CC90E}" dt="2022-02-12T21:06:23.025" v="4971" actId="478"/>
          <ac:picMkLst>
            <pc:docMk/>
            <pc:sldMk cId="4085661162" sldId="298"/>
            <ac:picMk id="5122" creationId="{0EF06859-F666-4E90-A08F-5540F25EC3C8}"/>
          </ac:picMkLst>
        </pc:picChg>
        <pc:picChg chg="add del mod">
          <ac:chgData name="Julie M Petersen" userId="6fc7cfdc-6116-41d4-9a87-1fac2e25d9fb" providerId="ADAL" clId="{8371E356-2D55-4EC2-96DE-583FF76CC90E}" dt="2022-02-12T21:12:09.814" v="5221" actId="478"/>
          <ac:picMkLst>
            <pc:docMk/>
            <pc:sldMk cId="4085661162" sldId="298"/>
            <ac:picMk id="5124" creationId="{D575DFEB-C4EF-4858-97EE-37ACCB7FD8FC}"/>
          </ac:picMkLst>
        </pc:picChg>
        <pc:picChg chg="add mod">
          <ac:chgData name="Julie M Petersen" userId="6fc7cfdc-6116-41d4-9a87-1fac2e25d9fb" providerId="ADAL" clId="{8371E356-2D55-4EC2-96DE-583FF76CC90E}" dt="2022-02-12T21:14:21.226" v="5268" actId="1076"/>
          <ac:picMkLst>
            <pc:docMk/>
            <pc:sldMk cId="4085661162" sldId="298"/>
            <ac:picMk id="5126" creationId="{220354F3-42C3-4FE2-ADE0-5B80E185B6A9}"/>
          </ac:picMkLst>
        </pc:picChg>
        <pc:picChg chg="add mod">
          <ac:chgData name="Julie M Petersen" userId="6fc7cfdc-6116-41d4-9a87-1fac2e25d9fb" providerId="ADAL" clId="{8371E356-2D55-4EC2-96DE-583FF76CC90E}" dt="2022-02-12T21:14:43.126" v="5272" actId="1076"/>
          <ac:picMkLst>
            <pc:docMk/>
            <pc:sldMk cId="4085661162" sldId="298"/>
            <ac:picMk id="5128" creationId="{B0F21C53-1289-4723-9989-7D16102ADB33}"/>
          </ac:picMkLst>
        </pc:picChg>
        <pc:cxnChg chg="add mod">
          <ac:chgData name="Julie M Petersen" userId="6fc7cfdc-6116-41d4-9a87-1fac2e25d9fb" providerId="ADAL" clId="{8371E356-2D55-4EC2-96DE-583FF76CC90E}" dt="2022-02-12T21:14:33.436" v="5270" actId="14100"/>
          <ac:cxnSpMkLst>
            <pc:docMk/>
            <pc:sldMk cId="4085661162" sldId="298"/>
            <ac:cxnSpMk id="17" creationId="{12DDF7CE-81FE-4301-9048-A76C2E001D77}"/>
          </ac:cxnSpMkLst>
        </pc:cxnChg>
        <pc:cxnChg chg="add mod">
          <ac:chgData name="Julie M Petersen" userId="6fc7cfdc-6116-41d4-9a87-1fac2e25d9fb" providerId="ADAL" clId="{8371E356-2D55-4EC2-96DE-583FF76CC90E}" dt="2022-02-12T21:13:28.335" v="5255" actId="1076"/>
          <ac:cxnSpMkLst>
            <pc:docMk/>
            <pc:sldMk cId="4085661162" sldId="298"/>
            <ac:cxnSpMk id="41" creationId="{ED48A5CA-92CD-4017-9EE1-257A6D13AA7E}"/>
          </ac:cxnSpMkLst>
        </pc:cxnChg>
        <pc:cxnChg chg="add mod">
          <ac:chgData name="Julie M Petersen" userId="6fc7cfdc-6116-41d4-9a87-1fac2e25d9fb" providerId="ADAL" clId="{8371E356-2D55-4EC2-96DE-583FF76CC90E}" dt="2022-02-12T21:13:30.337" v="5256" actId="1076"/>
          <ac:cxnSpMkLst>
            <pc:docMk/>
            <pc:sldMk cId="4085661162" sldId="298"/>
            <ac:cxnSpMk id="42" creationId="{51329351-F907-4814-B7E5-3F955DA37795}"/>
          </ac:cxnSpMkLst>
        </pc:cxnChg>
        <pc:cxnChg chg="add mod">
          <ac:chgData name="Julie M Petersen" userId="6fc7cfdc-6116-41d4-9a87-1fac2e25d9fb" providerId="ADAL" clId="{8371E356-2D55-4EC2-96DE-583FF76CC90E}" dt="2022-02-12T21:13:33.140" v="5257" actId="14100"/>
          <ac:cxnSpMkLst>
            <pc:docMk/>
            <pc:sldMk cId="4085661162" sldId="298"/>
            <ac:cxnSpMk id="43" creationId="{9E4666C8-E741-41CF-ACF5-CB0EB6C5B9B1}"/>
          </ac:cxnSpMkLst>
        </pc:cxnChg>
        <pc:cxnChg chg="add mod">
          <ac:chgData name="Julie M Petersen" userId="6fc7cfdc-6116-41d4-9a87-1fac2e25d9fb" providerId="ADAL" clId="{8371E356-2D55-4EC2-96DE-583FF76CC90E}" dt="2022-02-12T21:13:30.337" v="5256" actId="1076"/>
          <ac:cxnSpMkLst>
            <pc:docMk/>
            <pc:sldMk cId="4085661162" sldId="298"/>
            <ac:cxnSpMk id="44" creationId="{319667FE-6FFD-45E6-BB5D-E1CC062E9FD0}"/>
          </ac:cxnSpMkLst>
        </pc:cxnChg>
        <pc:cxnChg chg="add mod">
          <ac:chgData name="Julie M Petersen" userId="6fc7cfdc-6116-41d4-9a87-1fac2e25d9fb" providerId="ADAL" clId="{8371E356-2D55-4EC2-96DE-583FF76CC90E}" dt="2022-02-12T21:14:14.693" v="5266" actId="14100"/>
          <ac:cxnSpMkLst>
            <pc:docMk/>
            <pc:sldMk cId="4085661162" sldId="298"/>
            <ac:cxnSpMk id="49" creationId="{C3D76B68-3961-49CB-806E-30A895440727}"/>
          </ac:cxnSpMkLst>
        </pc:cxnChg>
      </pc:sldChg>
      <pc:sldChg chg="addSp delSp modSp add mod ord">
        <pc:chgData name="Julie M Petersen" userId="6fc7cfdc-6116-41d4-9a87-1fac2e25d9fb" providerId="ADAL" clId="{8371E356-2D55-4EC2-96DE-583FF76CC90E}" dt="2022-02-12T21:42:06.670" v="6036" actId="1076"/>
        <pc:sldMkLst>
          <pc:docMk/>
          <pc:sldMk cId="3376008603" sldId="299"/>
        </pc:sldMkLst>
        <pc:spChg chg="mod">
          <ac:chgData name="Julie M Petersen" userId="6fc7cfdc-6116-41d4-9a87-1fac2e25d9fb" providerId="ADAL" clId="{8371E356-2D55-4EC2-96DE-583FF76CC90E}" dt="2022-02-11T23:21:06.234" v="3870" actId="207"/>
          <ac:spMkLst>
            <pc:docMk/>
            <pc:sldMk cId="3376008603" sldId="299"/>
            <ac:spMk id="20" creationId="{D89501DF-347D-4BC7-90FD-2FA0C0E9412C}"/>
          </ac:spMkLst>
        </pc:spChg>
        <pc:spChg chg="mod">
          <ac:chgData name="Julie M Petersen" userId="6fc7cfdc-6116-41d4-9a87-1fac2e25d9fb" providerId="ADAL" clId="{8371E356-2D55-4EC2-96DE-583FF76CC90E}" dt="2022-02-11T23:21:02.306" v="3869" actId="207"/>
          <ac:spMkLst>
            <pc:docMk/>
            <pc:sldMk cId="3376008603" sldId="299"/>
            <ac:spMk id="21" creationId="{222982D5-4843-43F7-A9E8-04E4616157B9}"/>
          </ac:spMkLst>
        </pc:spChg>
        <pc:spChg chg="mod">
          <ac:chgData name="Julie M Petersen" userId="6fc7cfdc-6116-41d4-9a87-1fac2e25d9fb" providerId="ADAL" clId="{8371E356-2D55-4EC2-96DE-583FF76CC90E}" dt="2022-02-11T23:20:53.071" v="3868" actId="20577"/>
          <ac:spMkLst>
            <pc:docMk/>
            <pc:sldMk cId="3376008603" sldId="29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1T22:14:29.270" v="3561" actId="478"/>
          <ac:spMkLst>
            <pc:docMk/>
            <pc:sldMk cId="3376008603" sldId="29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45" creationId="{340E5E31-EBA7-4CA1-947D-4C4E2F3DE990}"/>
          </ac:spMkLst>
        </pc:spChg>
        <pc:picChg chg="add del mod">
          <ac:chgData name="Julie M Petersen" userId="6fc7cfdc-6116-41d4-9a87-1fac2e25d9fb" providerId="ADAL" clId="{8371E356-2D55-4EC2-96DE-583FF76CC90E}" dt="2022-02-12T21:34:34.139" v="5665" actId="478"/>
          <ac:picMkLst>
            <pc:docMk/>
            <pc:sldMk cId="3376008603" sldId="299"/>
            <ac:picMk id="5" creationId="{F8EC6E0D-BF6F-4A9D-8B1A-3023C76A4B4D}"/>
          </ac:picMkLst>
        </pc:picChg>
        <pc:picChg chg="add del mod">
          <ac:chgData name="Julie M Petersen" userId="6fc7cfdc-6116-41d4-9a87-1fac2e25d9fb" providerId="ADAL" clId="{8371E356-2D55-4EC2-96DE-583FF76CC90E}" dt="2022-02-12T10:29:36.603" v="4011" actId="478"/>
          <ac:picMkLst>
            <pc:docMk/>
            <pc:sldMk cId="3376008603" sldId="299"/>
            <ac:picMk id="13" creationId="{82B5D2F9-ACDA-41A5-985F-C791CA2B0807}"/>
          </ac:picMkLst>
        </pc:picChg>
        <pc:picChg chg="add mod">
          <ac:chgData name="Julie M Petersen" userId="6fc7cfdc-6116-41d4-9a87-1fac2e25d9fb" providerId="ADAL" clId="{8371E356-2D55-4EC2-96DE-583FF76CC90E}" dt="2022-02-12T21:42:06.670" v="6036" actId="1076"/>
          <ac:picMkLst>
            <pc:docMk/>
            <pc:sldMk cId="3376008603" sldId="299"/>
            <ac:picMk id="15" creationId="{5BB2FE56-2F8B-4CCF-B269-88CDA69EF0D0}"/>
          </ac:picMkLst>
        </pc:picChg>
        <pc:picChg chg="del">
          <ac:chgData name="Julie M Petersen" userId="6fc7cfdc-6116-41d4-9a87-1fac2e25d9fb" providerId="ADAL" clId="{8371E356-2D55-4EC2-96DE-583FF76CC90E}" dt="2022-02-11T22:14:27.321" v="3560" actId="478"/>
          <ac:picMkLst>
            <pc:docMk/>
            <pc:sldMk cId="3376008603" sldId="299"/>
            <ac:picMk id="37" creationId="{648D60E8-9829-4718-8706-7F0ECFA6E456}"/>
          </ac:picMkLst>
        </pc:picChg>
        <pc:picChg chg="del">
          <ac:chgData name="Julie M Petersen" userId="6fc7cfdc-6116-41d4-9a87-1fac2e25d9fb" providerId="ADAL" clId="{8371E356-2D55-4EC2-96DE-583FF76CC90E}" dt="2022-02-11T22:14:27.321" v="3560" actId="478"/>
          <ac:picMkLst>
            <pc:docMk/>
            <pc:sldMk cId="3376008603" sldId="299"/>
            <ac:picMk id="38" creationId="{E9D3313F-E0E1-4A2E-B92F-0F21C3CFC02A}"/>
          </ac:picMkLst>
        </pc:pic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4" creationId="{319667FE-6FFD-45E6-BB5D-E1CC062E9FD0}"/>
          </ac:cxnSpMkLst>
        </pc:cxnChg>
      </pc:sldChg>
      <pc:sldChg chg="addSp modSp add del mod ord">
        <pc:chgData name="Julie M Petersen" userId="6fc7cfdc-6116-41d4-9a87-1fac2e25d9fb" providerId="ADAL" clId="{8371E356-2D55-4EC2-96DE-583FF76CC90E}" dt="2022-02-12T21:08:09.702" v="5140" actId="47"/>
        <pc:sldMkLst>
          <pc:docMk/>
          <pc:sldMk cId="2502469757" sldId="300"/>
        </pc:sldMkLst>
        <pc:picChg chg="add mod">
          <ac:chgData name="Julie M Petersen" userId="6fc7cfdc-6116-41d4-9a87-1fac2e25d9fb" providerId="ADAL" clId="{8371E356-2D55-4EC2-96DE-583FF76CC90E}" dt="2022-02-11T23:18:19.641" v="3611" actId="1076"/>
          <ac:picMkLst>
            <pc:docMk/>
            <pc:sldMk cId="2502469757" sldId="300"/>
            <ac:picMk id="13" creationId="{426703BB-62C3-4F65-A92C-D72E20062BF5}"/>
          </ac:picMkLst>
        </pc:picChg>
        <pc:picChg chg="add mod">
          <ac:chgData name="Julie M Petersen" userId="6fc7cfdc-6116-41d4-9a87-1fac2e25d9fb" providerId="ADAL" clId="{8371E356-2D55-4EC2-96DE-583FF76CC90E}" dt="2022-02-11T23:18:18.090" v="3610" actId="14100"/>
          <ac:picMkLst>
            <pc:docMk/>
            <pc:sldMk cId="2502469757" sldId="300"/>
            <ac:picMk id="14" creationId="{A49066AF-892F-42E8-AB10-B5F27FFAECBA}"/>
          </ac:picMkLst>
        </pc:picChg>
        <pc:picChg chg="add mod">
          <ac:chgData name="Julie M Petersen" userId="6fc7cfdc-6116-41d4-9a87-1fac2e25d9fb" providerId="ADAL" clId="{8371E356-2D55-4EC2-96DE-583FF76CC90E}" dt="2022-02-11T23:18:24.737" v="3612" actId="1076"/>
          <ac:picMkLst>
            <pc:docMk/>
            <pc:sldMk cId="2502469757" sldId="300"/>
            <ac:picMk id="15" creationId="{E7A4474B-D473-4AD2-901F-33BFE7825E88}"/>
          </ac:picMkLst>
        </pc:picChg>
        <pc:picChg chg="add mod">
          <ac:chgData name="Julie M Petersen" userId="6fc7cfdc-6116-41d4-9a87-1fac2e25d9fb" providerId="ADAL" clId="{8371E356-2D55-4EC2-96DE-583FF76CC90E}" dt="2022-02-11T23:20:20.193" v="3817" actId="1076"/>
          <ac:picMkLst>
            <pc:docMk/>
            <pc:sldMk cId="2502469757" sldId="300"/>
            <ac:picMk id="16" creationId="{AED416A4-353C-4A03-9DB0-55853DB385B1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2T21:22:04.195" v="5620"/>
        <pc:sldMkLst>
          <pc:docMk/>
          <pc:sldMk cId="1659916045" sldId="301"/>
        </pc:sldMkLst>
        <pc:spChg chg="mod">
          <ac:chgData name="Julie M Petersen" userId="6fc7cfdc-6116-41d4-9a87-1fac2e25d9fb" providerId="ADAL" clId="{8371E356-2D55-4EC2-96DE-583FF76CC90E}" dt="2022-02-12T21:22:04.159" v="5579" actId="948"/>
          <ac:spMkLst>
            <pc:docMk/>
            <pc:sldMk cId="1659916045" sldId="301"/>
            <ac:spMk id="2" creationId="{F96F75DE-8A44-4EC5-83C6-95BDDF10DFD9}"/>
          </ac:spMkLst>
        </pc:spChg>
        <pc:spChg chg="add del mod modVis">
          <ac:chgData name="Julie M Petersen" userId="6fc7cfdc-6116-41d4-9a87-1fac2e25d9fb" providerId="ADAL" clId="{8371E356-2D55-4EC2-96DE-583FF76CC90E}" dt="2022-02-12T21:22:04.193" v="5618"/>
          <ac:spMkLst>
            <pc:docMk/>
            <pc:sldMk cId="1659916045" sldId="301"/>
            <ac:spMk id="4" creationId="{53B841DD-4C1F-4483-91A5-4E32FA18669B}"/>
          </ac:spMkLst>
        </pc:spChg>
        <pc:spChg chg="mod">
          <ac:chgData name="Julie M Petersen" userId="6fc7cfdc-6116-41d4-9a87-1fac2e25d9fb" providerId="ADAL" clId="{8371E356-2D55-4EC2-96DE-583FF76CC90E}" dt="2022-02-11T23:21:34.610" v="3922" actId="20577"/>
          <ac:spMkLst>
            <pc:docMk/>
            <pc:sldMk cId="1659916045" sldId="301"/>
            <ac:spMk id="7" creationId="{10786BB7-0C53-442B-9A5B-522A1CE29F2D}"/>
          </ac:spMkLst>
        </pc:spChg>
        <pc:graphicFrameChg chg="mod">
          <ac:chgData name="Julie M Petersen" userId="6fc7cfdc-6116-41d4-9a87-1fac2e25d9fb" providerId="ADAL" clId="{8371E356-2D55-4EC2-96DE-583FF76CC90E}" dt="2022-02-12T21:22:04.195" v="5620"/>
          <ac:graphicFrameMkLst>
            <pc:docMk/>
            <pc:sldMk cId="1659916045" sldId="301"/>
            <ac:graphicFrameMk id="8" creationId="{42E046E8-40AA-40EA-A038-1A5B77D39B2C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2T21:41:17.056" v="6017" actId="478"/>
        <pc:sldMkLst>
          <pc:docMk/>
          <pc:sldMk cId="3898564761" sldId="302"/>
        </pc:sldMkLst>
        <pc:spChg chg="del">
          <ac:chgData name="Julie M Petersen" userId="6fc7cfdc-6116-41d4-9a87-1fac2e25d9fb" providerId="ADAL" clId="{8371E356-2D55-4EC2-96DE-583FF76CC90E}" dt="2022-02-12T21:41:17.056" v="6017" actId="478"/>
          <ac:spMkLst>
            <pc:docMk/>
            <pc:sldMk cId="3898564761" sldId="302"/>
            <ac:spMk id="2" creationId="{35C72028-1D7C-4066-8E87-C465548E4F84}"/>
          </ac:spMkLst>
        </pc:spChg>
        <pc:spChg chg="add del mod">
          <ac:chgData name="Julie M Petersen" userId="6fc7cfdc-6116-41d4-9a87-1fac2e25d9fb" providerId="ADAL" clId="{8371E356-2D55-4EC2-96DE-583FF76CC90E}" dt="2022-02-12T19:25:20.983" v="4190" actId="478"/>
          <ac:spMkLst>
            <pc:docMk/>
            <pc:sldMk cId="3898564761" sldId="302"/>
            <ac:spMk id="8" creationId="{433CA86F-2641-4A1D-82E5-0C0600DBD9CB}"/>
          </ac:spMkLst>
        </pc:spChg>
        <pc:spChg chg="add del">
          <ac:chgData name="Julie M Petersen" userId="6fc7cfdc-6116-41d4-9a87-1fac2e25d9fb" providerId="ADAL" clId="{8371E356-2D55-4EC2-96DE-583FF76CC90E}" dt="2022-02-12T19:25:18.846" v="4189" actId="478"/>
          <ac:spMkLst>
            <pc:docMk/>
            <pc:sldMk cId="3898564761" sldId="302"/>
            <ac:spMk id="9" creationId="{5A26E114-03A0-4B6C-A4B2-828CC23C4386}"/>
          </ac:spMkLst>
        </pc:spChg>
        <pc:spChg chg="del">
          <ac:chgData name="Julie M Petersen" userId="6fc7cfdc-6116-41d4-9a87-1fac2e25d9fb" providerId="ADAL" clId="{8371E356-2D55-4EC2-96DE-583FF76CC90E}" dt="2022-02-12T21:41:15.090" v="6016" actId="478"/>
          <ac:spMkLst>
            <pc:docMk/>
            <pc:sldMk cId="3898564761" sldId="302"/>
            <ac:spMk id="10" creationId="{80264B2D-A6B8-4677-8F80-9B17ED55A355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3" creationId="{6B250190-2700-42B7-ACE3-F17456E8D8FF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4" creationId="{1B603AAF-A7ED-4CB8-9D0A-FEE66B9E133F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5" creationId="{F69C6543-1906-427D-B16F-105C6CFC53F4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6" creationId="{627A28D8-11F6-4287-A70A-1F0872AE94EE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18" creationId="{05758C7A-C527-48E1-8C53-4BDAB8868AD1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19" creationId="{AC9870D7-1CAC-499E-BEEB-ED169B269B67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20" creationId="{D89501DF-347D-4BC7-90FD-2FA0C0E9412C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21" creationId="{222982D5-4843-43F7-A9E8-04E4616157B9}"/>
          </ac:spMkLst>
        </pc:spChg>
        <pc:spChg chg="mod">
          <ac:chgData name="Julie M Petersen" userId="6fc7cfdc-6116-41d4-9a87-1fac2e25d9fb" providerId="ADAL" clId="{8371E356-2D55-4EC2-96DE-583FF76CC90E}" dt="2022-02-12T19:30:40.976" v="4459" actId="20577"/>
          <ac:spMkLst>
            <pc:docMk/>
            <pc:sldMk cId="3898564761" sldId="302"/>
            <ac:spMk id="23" creationId="{4B0C162A-B7C8-4A93-8399-1C5CF97530FC}"/>
          </ac:spMkLst>
        </pc:spChg>
        <pc:spChg chg="add mod">
          <ac:chgData name="Julie M Petersen" userId="6fc7cfdc-6116-41d4-9a87-1fac2e25d9fb" providerId="ADAL" clId="{8371E356-2D55-4EC2-96DE-583FF76CC90E}" dt="2022-02-12T19:30:00.400" v="4340" actId="1076"/>
          <ac:spMkLst>
            <pc:docMk/>
            <pc:sldMk cId="3898564761" sldId="302"/>
            <ac:spMk id="30" creationId="{9CAB2CD5-2CB3-4A0C-8A8B-26FE82F1C945}"/>
          </ac:spMkLst>
        </pc:spChg>
        <pc:spChg chg="add mod">
          <ac:chgData name="Julie M Petersen" userId="6fc7cfdc-6116-41d4-9a87-1fac2e25d9fb" providerId="ADAL" clId="{8371E356-2D55-4EC2-96DE-583FF76CC90E}" dt="2022-02-12T21:20:39.006" v="5434" actId="404"/>
          <ac:spMkLst>
            <pc:docMk/>
            <pc:sldMk cId="3898564761" sldId="302"/>
            <ac:spMk id="31" creationId="{1DCFA240-E843-487D-8727-792FD7F78783}"/>
          </ac:spMkLst>
        </pc:spChg>
        <pc:spChg chg="add mod">
          <ac:chgData name="Julie M Petersen" userId="6fc7cfdc-6116-41d4-9a87-1fac2e25d9fb" providerId="ADAL" clId="{8371E356-2D55-4EC2-96DE-583FF76CC90E}" dt="2022-02-12T21:20:44.641" v="5436" actId="404"/>
          <ac:spMkLst>
            <pc:docMk/>
            <pc:sldMk cId="3898564761" sldId="302"/>
            <ac:spMk id="32" creationId="{E169F0F4-3BBD-4D6E-9C7D-2F61DE6F6D3C}"/>
          </ac:spMkLst>
        </pc:spChg>
        <pc:spChg chg="add mod">
          <ac:chgData name="Julie M Petersen" userId="6fc7cfdc-6116-41d4-9a87-1fac2e25d9fb" providerId="ADAL" clId="{8371E356-2D55-4EC2-96DE-583FF76CC90E}" dt="2022-02-12T21:20:42.822" v="5435" actId="404"/>
          <ac:spMkLst>
            <pc:docMk/>
            <pc:sldMk cId="3898564761" sldId="302"/>
            <ac:spMk id="39" creationId="{308B44A3-D373-42FB-967B-41D4FB647136}"/>
          </ac:spMkLst>
        </pc:spChg>
        <pc:picChg chg="del">
          <ac:chgData name="Julie M Petersen" userId="6fc7cfdc-6116-41d4-9a87-1fac2e25d9fb" providerId="ADAL" clId="{8371E356-2D55-4EC2-96DE-583FF76CC90E}" dt="2022-02-12T16:58:18.957" v="4033" actId="478"/>
          <ac:picMkLst>
            <pc:docMk/>
            <pc:sldMk cId="3898564761" sldId="302"/>
            <ac:picMk id="5" creationId="{F8EC6E0D-BF6F-4A9D-8B1A-3023C76A4B4D}"/>
          </ac:picMkLst>
        </pc:picChg>
        <pc:picChg chg="add del mod">
          <ac:chgData name="Julie M Petersen" userId="6fc7cfdc-6116-41d4-9a87-1fac2e25d9fb" providerId="ADAL" clId="{8371E356-2D55-4EC2-96DE-583FF76CC90E}" dt="2022-02-12T19:30:53.038" v="4463" actId="1076"/>
          <ac:picMkLst>
            <pc:docMk/>
            <pc:sldMk cId="3898564761" sldId="302"/>
            <ac:picMk id="17" creationId="{17E6F592-F67F-4C9C-BCF6-8374AE0CD007}"/>
          </ac:picMkLst>
        </pc:picChg>
        <pc:picChg chg="add mod modCrop">
          <ac:chgData name="Julie M Petersen" userId="6fc7cfdc-6116-41d4-9a87-1fac2e25d9fb" providerId="ADAL" clId="{8371E356-2D55-4EC2-96DE-583FF76CC90E}" dt="2022-02-12T19:31:34.021" v="4469" actId="1076"/>
          <ac:picMkLst>
            <pc:docMk/>
            <pc:sldMk cId="3898564761" sldId="302"/>
            <ac:picMk id="25" creationId="{1B7F90D2-F7ED-47F7-834A-E4B1B5B93622}"/>
          </ac:picMkLst>
        </pc:picChg>
        <pc:picChg chg="add del mod modCrop">
          <ac:chgData name="Julie M Petersen" userId="6fc7cfdc-6116-41d4-9a87-1fac2e25d9fb" providerId="ADAL" clId="{8371E356-2D55-4EC2-96DE-583FF76CC90E}" dt="2022-02-12T19:31:24.367" v="4466" actId="478"/>
          <ac:picMkLst>
            <pc:docMk/>
            <pc:sldMk cId="3898564761" sldId="302"/>
            <ac:picMk id="26" creationId="{28FEE8E0-DDE8-44F9-A1A9-5B709583588C}"/>
          </ac:picMkLst>
        </pc:picChg>
        <pc:picChg chg="add del mod">
          <ac:chgData name="Julie M Petersen" userId="6fc7cfdc-6116-41d4-9a87-1fac2e25d9fb" providerId="ADAL" clId="{8371E356-2D55-4EC2-96DE-583FF76CC90E}" dt="2022-02-12T19:27:03.513" v="4259" actId="478"/>
          <ac:picMkLst>
            <pc:docMk/>
            <pc:sldMk cId="3898564761" sldId="302"/>
            <ac:picMk id="27" creationId="{69DB3B1D-D769-41EB-A7DA-ACF3F17546DC}"/>
          </ac:picMkLst>
        </pc:picChg>
        <pc:picChg chg="add del mod">
          <ac:chgData name="Julie M Petersen" userId="6fc7cfdc-6116-41d4-9a87-1fac2e25d9fb" providerId="ADAL" clId="{8371E356-2D55-4EC2-96DE-583FF76CC90E}" dt="2022-02-12T19:26:36.293" v="4255" actId="478"/>
          <ac:picMkLst>
            <pc:docMk/>
            <pc:sldMk cId="3898564761" sldId="302"/>
            <ac:picMk id="28" creationId="{DB5CFF2C-D6DE-472C-B882-CC7B137A5D6E}"/>
          </ac:picMkLst>
        </pc:picChg>
        <pc:picChg chg="add mod">
          <ac:chgData name="Julie M Petersen" userId="6fc7cfdc-6116-41d4-9a87-1fac2e25d9fb" providerId="ADAL" clId="{8371E356-2D55-4EC2-96DE-583FF76CC90E}" dt="2022-02-12T19:30:53.038" v="4463" actId="1076"/>
          <ac:picMkLst>
            <pc:docMk/>
            <pc:sldMk cId="3898564761" sldId="302"/>
            <ac:picMk id="35" creationId="{B00BC2FF-55BA-4ADB-B313-9EF9C8E79EF1}"/>
          </ac:picMkLst>
        </pc:picChg>
        <pc:picChg chg="add mod">
          <ac:chgData name="Julie M Petersen" userId="6fc7cfdc-6116-41d4-9a87-1fac2e25d9fb" providerId="ADAL" clId="{8371E356-2D55-4EC2-96DE-583FF76CC90E}" dt="2022-02-12T19:31:29.990" v="4468" actId="14100"/>
          <ac:picMkLst>
            <pc:docMk/>
            <pc:sldMk cId="3898564761" sldId="302"/>
            <ac:picMk id="48" creationId="{A86D7BB1-BB29-4C65-97C6-491ACCCA95DB}"/>
          </ac:picMkLst>
        </pc:picChg>
        <pc:cxnChg chg="add del mod">
          <ac:chgData name="Julie M Petersen" userId="6fc7cfdc-6116-41d4-9a87-1fac2e25d9fb" providerId="ADAL" clId="{8371E356-2D55-4EC2-96DE-583FF76CC90E}" dt="2022-02-12T16:59:38.900" v="4048" actId="478"/>
          <ac:cxnSpMkLst>
            <pc:docMk/>
            <pc:sldMk cId="3898564761" sldId="302"/>
            <ac:cxnSpMk id="6" creationId="{272A2776-2978-4BEF-B7BD-30C1C32235F1}"/>
          </ac:cxnSpMkLst>
        </pc:cxnChg>
        <pc:cxnChg chg="add del mod">
          <ac:chgData name="Julie M Petersen" userId="6fc7cfdc-6116-41d4-9a87-1fac2e25d9fb" providerId="ADAL" clId="{8371E356-2D55-4EC2-96DE-583FF76CC90E}" dt="2022-02-12T16:59:39.719" v="4049" actId="478"/>
          <ac:cxnSpMkLst>
            <pc:docMk/>
            <pc:sldMk cId="3898564761" sldId="302"/>
            <ac:cxnSpMk id="24" creationId="{E917E8F3-DAEE-4A57-8A0F-23EBAAC4DE45}"/>
          </ac:cxnSpMkLst>
        </pc:cxnChg>
        <pc:cxnChg chg="add del mod">
          <ac:chgData name="Julie M Petersen" userId="6fc7cfdc-6116-41d4-9a87-1fac2e25d9fb" providerId="ADAL" clId="{8371E356-2D55-4EC2-96DE-583FF76CC90E}" dt="2022-02-12T19:27:38.809" v="4269" actId="478"/>
          <ac:cxnSpMkLst>
            <pc:docMk/>
            <pc:sldMk cId="3898564761" sldId="302"/>
            <ac:cxnSpMk id="29" creationId="{A704BC30-9EA0-4EE3-86EC-4D72C7475549}"/>
          </ac:cxnSpMkLst>
        </pc:cxnChg>
        <pc:cxnChg chg="add mod">
          <ac:chgData name="Julie M Petersen" userId="6fc7cfdc-6116-41d4-9a87-1fac2e25d9fb" providerId="ADAL" clId="{8371E356-2D55-4EC2-96DE-583FF76CC90E}" dt="2022-02-12T19:30:53.038" v="4463" actId="1076"/>
          <ac:cxnSpMkLst>
            <pc:docMk/>
            <pc:sldMk cId="3898564761" sldId="302"/>
            <ac:cxnSpMk id="37" creationId="{C027D368-57BC-4228-9F19-A7E75365F1FB}"/>
          </ac:cxnSpMkLst>
        </pc:cxnChg>
      </pc:sldChg>
      <pc:sldChg chg="addSp delSp modSp add mod">
        <pc:chgData name="Julie M Petersen" userId="6fc7cfdc-6116-41d4-9a87-1fac2e25d9fb" providerId="ADAL" clId="{8371E356-2D55-4EC2-96DE-583FF76CC90E}" dt="2022-02-12T21:41:33.067" v="6026" actId="478"/>
        <pc:sldMkLst>
          <pc:docMk/>
          <pc:sldMk cId="355724650" sldId="303"/>
        </pc:sldMkLst>
        <pc:spChg chg="del">
          <ac:chgData name="Julie M Petersen" userId="6fc7cfdc-6116-41d4-9a87-1fac2e25d9fb" providerId="ADAL" clId="{8371E356-2D55-4EC2-96DE-583FF76CC90E}" dt="2022-02-12T21:41:32.536" v="6025" actId="478"/>
          <ac:spMkLst>
            <pc:docMk/>
            <pc:sldMk cId="355724650" sldId="303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2.536" v="6025" actId="478"/>
          <ac:spMkLst>
            <pc:docMk/>
            <pc:sldMk cId="355724650" sldId="303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3.067" v="6026" actId="478"/>
          <ac:spMkLst>
            <pc:docMk/>
            <pc:sldMk cId="355724650" sldId="303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0.926" v="5364"/>
          <ac:spMkLst>
            <pc:docMk/>
            <pc:sldMk cId="355724650" sldId="303"/>
            <ac:spMk id="23" creationId="{AC1F15A5-CEAE-4905-BE61-A34B398FBBFC}"/>
          </ac:spMkLst>
        </pc:spChg>
        <pc:picChg chg="add del mod">
          <ac:chgData name="Julie M Petersen" userId="6fc7cfdc-6116-41d4-9a87-1fac2e25d9fb" providerId="ADAL" clId="{8371E356-2D55-4EC2-96DE-583FF76CC90E}" dt="2022-02-12T21:36:34.488" v="5708" actId="478"/>
          <ac:picMkLst>
            <pc:docMk/>
            <pc:sldMk cId="355724650" sldId="303"/>
            <ac:picMk id="6" creationId="{44C5B06E-5586-4AF9-8ABE-DC34D0564B9E}"/>
          </ac:picMkLst>
        </pc:picChg>
        <pc:picChg chg="add mod">
          <ac:chgData name="Julie M Petersen" userId="6fc7cfdc-6116-41d4-9a87-1fac2e25d9fb" providerId="ADAL" clId="{8371E356-2D55-4EC2-96DE-583FF76CC90E}" dt="2022-02-12T21:36:45.831" v="5712" actId="1076"/>
          <ac:picMkLst>
            <pc:docMk/>
            <pc:sldMk cId="355724650" sldId="303"/>
            <ac:picMk id="8" creationId="{3C2370C6-D573-4188-9C44-B846275A03C7}"/>
          </ac:picMkLst>
        </pc:picChg>
        <pc:picChg chg="del">
          <ac:chgData name="Julie M Petersen" userId="6fc7cfdc-6116-41d4-9a87-1fac2e25d9fb" providerId="ADAL" clId="{8371E356-2D55-4EC2-96DE-583FF76CC90E}" dt="2022-02-12T19:53:51.044" v="4662" actId="478"/>
          <ac:picMkLst>
            <pc:docMk/>
            <pc:sldMk cId="355724650" sldId="303"/>
            <ac:picMk id="24" creationId="{80AE2643-3A6C-4E03-82B5-C40EA3788B19}"/>
          </ac:picMkLst>
        </pc:picChg>
        <pc:picChg chg="del">
          <ac:chgData name="Julie M Petersen" userId="6fc7cfdc-6116-41d4-9a87-1fac2e25d9fb" providerId="ADAL" clId="{8371E356-2D55-4EC2-96DE-583FF76CC90E}" dt="2022-02-12T19:34:28.553" v="4510" actId="478"/>
          <ac:picMkLst>
            <pc:docMk/>
            <pc:sldMk cId="355724650" sldId="303"/>
            <ac:picMk id="25" creationId="{AE34B15A-203E-4396-90D1-948ED038BE34}"/>
          </ac:picMkLst>
        </pc:picChg>
        <pc:picChg chg="del">
          <ac:chgData name="Julie M Petersen" userId="6fc7cfdc-6116-41d4-9a87-1fac2e25d9fb" providerId="ADAL" clId="{8371E356-2D55-4EC2-96DE-583FF76CC90E}" dt="2022-02-12T19:34:29.439" v="4511" actId="478"/>
          <ac:picMkLst>
            <pc:docMk/>
            <pc:sldMk cId="355724650" sldId="303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2T21:41:35.441" v="6027" actId="478"/>
        <pc:sldMkLst>
          <pc:docMk/>
          <pc:sldMk cId="3960669660" sldId="304"/>
        </pc:sldMkLst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0.576" v="5363"/>
          <ac:spMkLst>
            <pc:docMk/>
            <pc:sldMk cId="3960669660" sldId="304"/>
            <ac:spMk id="23" creationId="{AC1F15A5-CEAE-4905-BE61-A34B398FBBFC}"/>
          </ac:spMkLst>
        </pc:spChg>
        <pc:picChg chg="add del mod">
          <ac:chgData name="Julie M Petersen" userId="6fc7cfdc-6116-41d4-9a87-1fac2e25d9fb" providerId="ADAL" clId="{8371E356-2D55-4EC2-96DE-583FF76CC90E}" dt="2022-02-12T20:18:24.901" v="4719" actId="478"/>
          <ac:picMkLst>
            <pc:docMk/>
            <pc:sldMk cId="3960669660" sldId="304"/>
            <ac:picMk id="6" creationId="{57395841-EC44-4133-A2D3-F4D58795B893}"/>
          </ac:picMkLst>
        </pc:picChg>
        <pc:picChg chg="add del mod">
          <ac:chgData name="Julie M Petersen" userId="6fc7cfdc-6116-41d4-9a87-1fac2e25d9fb" providerId="ADAL" clId="{8371E356-2D55-4EC2-96DE-583FF76CC90E}" dt="2022-02-12T21:36:49.917" v="5713" actId="478"/>
          <ac:picMkLst>
            <pc:docMk/>
            <pc:sldMk cId="3960669660" sldId="304"/>
            <ac:picMk id="8" creationId="{8E8012CA-2F7C-4343-B37F-C999BAB65995}"/>
          </ac:picMkLst>
        </pc:picChg>
        <pc:picChg chg="add mod">
          <ac:chgData name="Julie M Petersen" userId="6fc7cfdc-6116-41d4-9a87-1fac2e25d9fb" providerId="ADAL" clId="{8371E356-2D55-4EC2-96DE-583FF76CC90E}" dt="2022-02-12T21:37:28.579" v="5717" actId="1076"/>
          <ac:picMkLst>
            <pc:docMk/>
            <pc:sldMk cId="3960669660" sldId="304"/>
            <ac:picMk id="13" creationId="{18822780-82D7-4DE7-94D9-5A79CE809AE2}"/>
          </ac:picMkLst>
        </pc:picChg>
        <pc:picChg chg="del">
          <ac:chgData name="Julie M Petersen" userId="6fc7cfdc-6116-41d4-9a87-1fac2e25d9fb" providerId="ADAL" clId="{8371E356-2D55-4EC2-96DE-583FF76CC90E}" dt="2022-02-12T19:34:31.524" v="4512" actId="478"/>
          <ac:picMkLst>
            <pc:docMk/>
            <pc:sldMk cId="3960669660" sldId="304"/>
            <ac:picMk id="24" creationId="{80AE2643-3A6C-4E03-82B5-C40EA3788B19}"/>
          </ac:picMkLst>
        </pc:picChg>
        <pc:picChg chg="del">
          <ac:chgData name="Julie M Petersen" userId="6fc7cfdc-6116-41d4-9a87-1fac2e25d9fb" providerId="ADAL" clId="{8371E356-2D55-4EC2-96DE-583FF76CC90E}" dt="2022-02-12T19:34:32.094" v="4513" actId="478"/>
          <ac:picMkLst>
            <pc:docMk/>
            <pc:sldMk cId="3960669660" sldId="304"/>
            <ac:picMk id="25" creationId="{AE34B15A-203E-4396-90D1-948ED038BE34}"/>
          </ac:picMkLst>
        </pc:picChg>
        <pc:picChg chg="del">
          <ac:chgData name="Julie M Petersen" userId="6fc7cfdc-6116-41d4-9a87-1fac2e25d9fb" providerId="ADAL" clId="{8371E356-2D55-4EC2-96DE-583FF76CC90E}" dt="2022-02-12T19:53:53.180" v="4663" actId="478"/>
          <ac:picMkLst>
            <pc:docMk/>
            <pc:sldMk cId="3960669660" sldId="304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2T21:41:27.213" v="6023" actId="478"/>
        <pc:sldMkLst>
          <pc:docMk/>
          <pc:sldMk cId="3957131448" sldId="305"/>
        </pc:sldMkLst>
        <pc:spChg chg="del">
          <ac:chgData name="Julie M Petersen" userId="6fc7cfdc-6116-41d4-9a87-1fac2e25d9fb" providerId="ADAL" clId="{8371E356-2D55-4EC2-96DE-583FF76CC90E}" dt="2022-02-12T21:41:25.385" v="6020" actId="478"/>
          <ac:spMkLst>
            <pc:docMk/>
            <pc:sldMk cId="3957131448" sldId="305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27.213" v="6023" actId="478"/>
          <ac:spMkLst>
            <pc:docMk/>
            <pc:sldMk cId="3957131448" sldId="305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25.385" v="6020" actId="478"/>
          <ac:spMkLst>
            <pc:docMk/>
            <pc:sldMk cId="3957131448" sldId="305"/>
            <ac:spMk id="10" creationId="{80264B2D-A6B8-4677-8F80-9B17ED55A355}"/>
          </ac:spMkLst>
        </pc:spChg>
        <pc:spChg chg="del mod">
          <ac:chgData name="Julie M Petersen" userId="6fc7cfdc-6116-41d4-9a87-1fac2e25d9fb" providerId="ADAL" clId="{8371E356-2D55-4EC2-96DE-583FF76CC90E}" dt="2022-02-12T21:41:26.556" v="6022" actId="478"/>
          <ac:spMkLst>
            <pc:docMk/>
            <pc:sldMk cId="3957131448" sldId="305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4.889" v="5376" actId="20577"/>
          <ac:spMkLst>
            <pc:docMk/>
            <pc:sldMk cId="3957131448" sldId="305"/>
            <ac:spMk id="23" creationId="{AC1F15A5-CEAE-4905-BE61-A34B398FBBFC}"/>
          </ac:spMkLst>
        </pc:spChg>
        <pc:picChg chg="add del mod">
          <ac:chgData name="Julie M Petersen" userId="6fc7cfdc-6116-41d4-9a87-1fac2e25d9fb" providerId="ADAL" clId="{8371E356-2D55-4EC2-96DE-583FF76CC90E}" dt="2022-02-12T21:35:55.835" v="5697" actId="478"/>
          <ac:picMkLst>
            <pc:docMk/>
            <pc:sldMk cId="3957131448" sldId="305"/>
            <ac:picMk id="6" creationId="{21F1CA13-34DE-4FF9-BC80-8A2374595B50}"/>
          </ac:picMkLst>
        </pc:picChg>
        <pc:picChg chg="add mod">
          <ac:chgData name="Julie M Petersen" userId="6fc7cfdc-6116-41d4-9a87-1fac2e25d9fb" providerId="ADAL" clId="{8371E356-2D55-4EC2-96DE-583FF76CC90E}" dt="2022-02-12T21:36:07.716" v="5701" actId="1076"/>
          <ac:picMkLst>
            <pc:docMk/>
            <pc:sldMk cId="3957131448" sldId="305"/>
            <ac:picMk id="8" creationId="{7A10D3FF-3945-4FA2-AAA4-FDC9F96DEE9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2T21:41:37.619" v="6028" actId="478"/>
        <pc:sldMkLst>
          <pc:docMk/>
          <pc:sldMk cId="2585955637" sldId="306"/>
        </pc:sldMkLst>
        <pc:spChg chg="del">
          <ac:chgData name="Julie M Petersen" userId="6fc7cfdc-6116-41d4-9a87-1fac2e25d9fb" providerId="ADAL" clId="{8371E356-2D55-4EC2-96DE-583FF76CC90E}" dt="2022-02-12T21:41:37.619" v="6028" actId="478"/>
          <ac:spMkLst>
            <pc:docMk/>
            <pc:sldMk cId="2585955637" sldId="306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6" creationId="{CEFDCE74-AFDF-4859-9647-DA32210244F0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7" creationId="{0AACCC8D-F2E3-4B11-9A9B-9E72AB4BE9DE}"/>
          </ac:spMkLst>
        </pc:spChg>
        <pc:spChg chg="del">
          <ac:chgData name="Julie M Petersen" userId="6fc7cfdc-6116-41d4-9a87-1fac2e25d9fb" providerId="ADAL" clId="{8371E356-2D55-4EC2-96DE-583FF76CC90E}" dt="2022-02-12T21:41:37.619" v="6028" actId="478"/>
          <ac:spMkLst>
            <pc:docMk/>
            <pc:sldMk cId="2585955637" sldId="306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18" creationId="{07A5CB36-7388-4FAB-8C0A-417EB656CF03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19" creationId="{DDB1980A-B4AE-418C-BB98-BDEC30CF27AA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20" creationId="{47DDF9CB-98E3-4BA1-98C7-43E6E37D7FDD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21" creationId="{E7B04145-C8EB-4484-BCA3-06C7102C7888}"/>
          </ac:spMkLst>
        </pc:spChg>
        <pc:spChg chg="mod">
          <ac:chgData name="Julie M Petersen" userId="6fc7cfdc-6116-41d4-9a87-1fac2e25d9fb" providerId="ADAL" clId="{8371E356-2D55-4EC2-96DE-583FF76CC90E}" dt="2022-02-12T21:19:50.213" v="5362" actId="20577"/>
          <ac:spMkLst>
            <pc:docMk/>
            <pc:sldMk cId="2585955637" sldId="306"/>
            <ac:spMk id="27" creationId="{94F2638A-E321-4A5D-B306-CE121226085C}"/>
          </ac:spMkLst>
        </pc:spChg>
        <pc:picChg chg="del">
          <ac:chgData name="Julie M Petersen" userId="6fc7cfdc-6116-41d4-9a87-1fac2e25d9fb" providerId="ADAL" clId="{8371E356-2D55-4EC2-96DE-583FF76CC90E}" dt="2022-02-12T20:19:48.298" v="4735" actId="478"/>
          <ac:picMkLst>
            <pc:docMk/>
            <pc:sldMk cId="2585955637" sldId="306"/>
            <ac:picMk id="5" creationId="{93EFAF28-E145-4873-9AD1-ADAB67E4542E}"/>
          </ac:picMkLst>
        </pc:picChg>
        <pc:picChg chg="add del mod">
          <ac:chgData name="Julie M Petersen" userId="6fc7cfdc-6116-41d4-9a87-1fac2e25d9fb" providerId="ADAL" clId="{8371E356-2D55-4EC2-96DE-583FF76CC90E}" dt="2022-02-12T21:37:39.091" v="5718" actId="478"/>
          <ac:picMkLst>
            <pc:docMk/>
            <pc:sldMk cId="2585955637" sldId="306"/>
            <ac:picMk id="8" creationId="{BC9500C8-5771-4C77-9160-24C3FD206F4E}"/>
          </ac:picMkLst>
        </pc:picChg>
        <pc:picChg chg="add mod modCrop">
          <ac:chgData name="Julie M Petersen" userId="6fc7cfdc-6116-41d4-9a87-1fac2e25d9fb" providerId="ADAL" clId="{8371E356-2D55-4EC2-96DE-583FF76CC90E}" dt="2022-02-12T21:37:58.102" v="5725" actId="1076"/>
          <ac:picMkLst>
            <pc:docMk/>
            <pc:sldMk cId="2585955637" sldId="306"/>
            <ac:picMk id="11" creationId="{F171EFE0-58F7-4366-803B-C6845D710AE6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2T21:41:46.349" v="6031" actId="478"/>
        <pc:sldMkLst>
          <pc:docMk/>
          <pc:sldMk cId="1682015416" sldId="307"/>
        </pc:sldMkLst>
        <pc:spChg chg="del">
          <ac:chgData name="Julie M Petersen" userId="6fc7cfdc-6116-41d4-9a87-1fac2e25d9fb" providerId="ADAL" clId="{8371E356-2D55-4EC2-96DE-583FF76CC90E}" dt="2022-02-12T21:41:46.349" v="6031" actId="478"/>
          <ac:spMkLst>
            <pc:docMk/>
            <pc:sldMk cId="1682015416" sldId="307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6" creationId="{CEFDCE74-AFDF-4859-9647-DA32210244F0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7" creationId="{0AACCC8D-F2E3-4B11-9A9B-9E72AB4BE9DE}"/>
          </ac:spMkLst>
        </pc:spChg>
        <pc:spChg chg="del">
          <ac:chgData name="Julie M Petersen" userId="6fc7cfdc-6116-41d4-9a87-1fac2e25d9fb" providerId="ADAL" clId="{8371E356-2D55-4EC2-96DE-583FF76CC90E}" dt="2022-02-12T21:41:46.349" v="6031" actId="478"/>
          <ac:spMkLst>
            <pc:docMk/>
            <pc:sldMk cId="1682015416" sldId="307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18" creationId="{07A5CB36-7388-4FAB-8C0A-417EB656CF03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20" creationId="{47DDF9CB-98E3-4BA1-98C7-43E6E37D7FDD}"/>
          </ac:spMkLst>
        </pc:spChg>
        <pc:spChg chg="mod">
          <ac:chgData name="Julie M Petersen" userId="6fc7cfdc-6116-41d4-9a87-1fac2e25d9fb" providerId="ADAL" clId="{8371E356-2D55-4EC2-96DE-583FF76CC90E}" dt="2022-02-12T21:02:13.063" v="4954" actId="20577"/>
          <ac:spMkLst>
            <pc:docMk/>
            <pc:sldMk cId="1682015416" sldId="307"/>
            <ac:spMk id="27" creationId="{94F2638A-E321-4A5D-B306-CE121226085C}"/>
          </ac:spMkLst>
        </pc:spChg>
        <pc:picChg chg="add del mod">
          <ac:chgData name="Julie M Petersen" userId="6fc7cfdc-6116-41d4-9a87-1fac2e25d9fb" providerId="ADAL" clId="{8371E356-2D55-4EC2-96DE-583FF76CC90E}" dt="2022-02-12T21:02:50.181" v="4960" actId="478"/>
          <ac:picMkLst>
            <pc:docMk/>
            <pc:sldMk cId="1682015416" sldId="307"/>
            <ac:picMk id="5" creationId="{BBF77B35-665E-47E0-AB62-31C98DA912BE}"/>
          </ac:picMkLst>
        </pc:picChg>
        <pc:picChg chg="del">
          <ac:chgData name="Julie M Petersen" userId="6fc7cfdc-6116-41d4-9a87-1fac2e25d9fb" providerId="ADAL" clId="{8371E356-2D55-4EC2-96DE-583FF76CC90E}" dt="2022-02-12T21:02:14.439" v="4955" actId="478"/>
          <ac:picMkLst>
            <pc:docMk/>
            <pc:sldMk cId="1682015416" sldId="307"/>
            <ac:picMk id="9" creationId="{3F46F6B8-8F6A-4900-BE52-09B5FA8597B4}"/>
          </ac:picMkLst>
        </pc:picChg>
        <pc:picChg chg="add del mod">
          <ac:chgData name="Julie M Petersen" userId="6fc7cfdc-6116-41d4-9a87-1fac2e25d9fb" providerId="ADAL" clId="{8371E356-2D55-4EC2-96DE-583FF76CC90E}" dt="2022-02-12T21:05:20.672" v="4966" actId="478"/>
          <ac:picMkLst>
            <pc:docMk/>
            <pc:sldMk cId="1682015416" sldId="307"/>
            <ac:picMk id="11" creationId="{89BAB88F-7208-4F74-A733-F348BD80575E}"/>
          </ac:picMkLst>
        </pc:picChg>
        <pc:picChg chg="add del mod">
          <ac:chgData name="Julie M Petersen" userId="6fc7cfdc-6116-41d4-9a87-1fac2e25d9fb" providerId="ADAL" clId="{8371E356-2D55-4EC2-96DE-583FF76CC90E}" dt="2022-02-12T21:05:21.008" v="4967" actId="478"/>
          <ac:picMkLst>
            <pc:docMk/>
            <pc:sldMk cId="1682015416" sldId="307"/>
            <ac:picMk id="19" creationId="{D12FD058-04E9-4113-B694-6EFA3724BD7E}"/>
          </ac:picMkLst>
        </pc:picChg>
        <pc:picChg chg="add mod">
          <ac:chgData name="Julie M Petersen" userId="6fc7cfdc-6116-41d4-9a87-1fac2e25d9fb" providerId="ADAL" clId="{8371E356-2D55-4EC2-96DE-583FF76CC90E}" dt="2022-02-12T21:05:29.837" v="4969" actId="1076"/>
          <ac:picMkLst>
            <pc:docMk/>
            <pc:sldMk cId="1682015416" sldId="307"/>
            <ac:picMk id="24" creationId="{E1D8A6BF-D940-4C29-A091-C50D0FEFBE3D}"/>
          </ac:picMkLst>
        </pc:picChg>
      </pc:sldChg>
      <pc:sldChg chg="add del">
        <pc:chgData name="Julie M Petersen" userId="6fc7cfdc-6116-41d4-9a87-1fac2e25d9fb" providerId="ADAL" clId="{8371E356-2D55-4EC2-96DE-583FF76CC90E}" dt="2022-02-12T20:45:06.250" v="4889" actId="47"/>
        <pc:sldMkLst>
          <pc:docMk/>
          <pc:sldMk cId="3344809415" sldId="307"/>
        </pc:sldMkLst>
      </pc:sldChg>
      <pc:sldChg chg="modSp add del mod">
        <pc:chgData name="Julie M Petersen" userId="6fc7cfdc-6116-41d4-9a87-1fac2e25d9fb" providerId="ADAL" clId="{8371E356-2D55-4EC2-96DE-583FF76CC90E}" dt="2022-02-12T20:29:56.505" v="4810" actId="47"/>
        <pc:sldMkLst>
          <pc:docMk/>
          <pc:sldMk cId="2305751347" sldId="308"/>
        </pc:sldMkLst>
        <pc:spChg chg="mod">
          <ac:chgData name="Julie M Petersen" userId="6fc7cfdc-6116-41d4-9a87-1fac2e25d9fb" providerId="ADAL" clId="{8371E356-2D55-4EC2-96DE-583FF76CC90E}" dt="2022-02-12T20:29:35.018" v="4809" actId="20577"/>
          <ac:spMkLst>
            <pc:docMk/>
            <pc:sldMk cId="2305751347" sldId="308"/>
            <ac:spMk id="27" creationId="{94F2638A-E321-4A5D-B306-CE121226085C}"/>
          </ac:spMkLst>
        </pc:spChg>
      </pc:sldChg>
      <pc:sldChg chg="addSp delSp modSp add mod">
        <pc:chgData name="Julie M Petersen" userId="6fc7cfdc-6116-41d4-9a87-1fac2e25d9fb" providerId="ADAL" clId="{8371E356-2D55-4EC2-96DE-583FF76CC90E}" dt="2022-02-12T21:40:43.600" v="6008" actId="20577"/>
        <pc:sldMkLst>
          <pc:docMk/>
          <pc:sldMk cId="2764571316" sldId="308"/>
        </pc:sldMkLst>
        <pc:spChg chg="mod">
          <ac:chgData name="Julie M Petersen" userId="6fc7cfdc-6116-41d4-9a87-1fac2e25d9fb" providerId="ADAL" clId="{8371E356-2D55-4EC2-96DE-583FF76CC90E}" dt="2022-02-12T21:40:39.731" v="5947" actId="948"/>
          <ac:spMkLst>
            <pc:docMk/>
            <pc:sldMk cId="2764571316" sldId="308"/>
            <ac:spMk id="2" creationId="{8460295B-54B9-4937-90E3-BAB9CE69E30B}"/>
          </ac:spMkLst>
        </pc:spChg>
        <pc:spChg chg="add del mod modVis">
          <ac:chgData name="Julie M Petersen" userId="6fc7cfdc-6116-41d4-9a87-1fac2e25d9fb" providerId="ADAL" clId="{8371E356-2D55-4EC2-96DE-583FF76CC90E}" dt="2022-02-12T21:40:26.232" v="5774"/>
          <ac:spMkLst>
            <pc:docMk/>
            <pc:sldMk cId="2764571316" sldId="308"/>
            <ac:spMk id="3" creationId="{CB2F3DDC-BB7D-4A3E-AF36-ADB22F10776B}"/>
          </ac:spMkLst>
        </pc:spChg>
        <pc:spChg chg="mod">
          <ac:chgData name="Julie M Petersen" userId="6fc7cfdc-6116-41d4-9a87-1fac2e25d9fb" providerId="ADAL" clId="{8371E356-2D55-4EC2-96DE-583FF76CC90E}" dt="2022-02-12T21:40:43.600" v="6008" actId="20577"/>
          <ac:spMkLst>
            <pc:docMk/>
            <pc:sldMk cId="2764571316" sldId="308"/>
            <ac:spMk id="4" creationId="{D51A6D85-3837-435F-A342-5A3F98172B12}"/>
          </ac:spMkLst>
        </pc:spChg>
        <pc:spChg chg="add del mod modVis">
          <ac:chgData name="Julie M Petersen" userId="6fc7cfdc-6116-41d4-9a87-1fac2e25d9fb" providerId="ADAL" clId="{8371E356-2D55-4EC2-96DE-583FF76CC90E}" dt="2022-02-12T21:40:31.898" v="5831"/>
          <ac:spMkLst>
            <pc:docMk/>
            <pc:sldMk cId="2764571316" sldId="308"/>
            <ac:spMk id="6" creationId="{E2104488-6C3A-40D5-92B9-2B147726A1DB}"/>
          </ac:spMkLst>
        </pc:spChg>
        <pc:spChg chg="add del mod modVis">
          <ac:chgData name="Julie M Petersen" userId="6fc7cfdc-6116-41d4-9a87-1fac2e25d9fb" providerId="ADAL" clId="{8371E356-2D55-4EC2-96DE-583FF76CC90E}" dt="2022-02-12T21:40:34.550" v="5886"/>
          <ac:spMkLst>
            <pc:docMk/>
            <pc:sldMk cId="2764571316" sldId="308"/>
            <ac:spMk id="7" creationId="{17588C27-ACD0-4026-AE91-7E30297441FD}"/>
          </ac:spMkLst>
        </pc:spChg>
        <pc:spChg chg="add del mod modVis">
          <ac:chgData name="Julie M Petersen" userId="6fc7cfdc-6116-41d4-9a87-1fac2e25d9fb" providerId="ADAL" clId="{8371E356-2D55-4EC2-96DE-583FF76CC90E}" dt="2022-02-12T21:40:37.362" v="5943"/>
          <ac:spMkLst>
            <pc:docMk/>
            <pc:sldMk cId="2764571316" sldId="308"/>
            <ac:spMk id="8" creationId="{132648DD-91F8-40FD-A3A8-7142E0CCF85C}"/>
          </ac:spMkLst>
        </pc:spChg>
        <pc:spChg chg="add del mod modVis">
          <ac:chgData name="Julie M Petersen" userId="6fc7cfdc-6116-41d4-9a87-1fac2e25d9fb" providerId="ADAL" clId="{8371E356-2D55-4EC2-96DE-583FF76CC90E}" dt="2022-02-12T21:40:39.767" v="5986"/>
          <ac:spMkLst>
            <pc:docMk/>
            <pc:sldMk cId="2764571316" sldId="308"/>
            <ac:spMk id="10" creationId="{F783F8DC-62D8-4ABD-A147-9A57088BA396}"/>
          </ac:spMkLst>
        </pc:spChg>
        <pc:graphicFrameChg chg="add mod ord modVis">
          <ac:chgData name="Julie M Petersen" userId="6fc7cfdc-6116-41d4-9a87-1fac2e25d9fb" providerId="ADAL" clId="{8371E356-2D55-4EC2-96DE-583FF76CC90E}" dt="2022-02-12T21:40:39.771" v="5988"/>
          <ac:graphicFrameMkLst>
            <pc:docMk/>
            <pc:sldMk cId="2764571316" sldId="308"/>
            <ac:graphicFrameMk id="5" creationId="{2AF71878-C8BC-411D-8C11-EFD2E8AC8C01}"/>
          </ac:graphicFrameMkLst>
        </pc:graphicFrameChg>
      </pc:sldChg>
      <pc:sldChg chg="addSp delSp add del mod">
        <pc:chgData name="Julie M Petersen" userId="6fc7cfdc-6116-41d4-9a87-1fac2e25d9fb" providerId="ADAL" clId="{8371E356-2D55-4EC2-96DE-583FF76CC90E}" dt="2022-02-12T21:34:35.791" v="5667" actId="47"/>
        <pc:sldMkLst>
          <pc:docMk/>
          <pc:sldMk cId="3639160541" sldId="308"/>
        </pc:sldMkLst>
        <pc:picChg chg="add del">
          <ac:chgData name="Julie M Petersen" userId="6fc7cfdc-6116-41d4-9a87-1fac2e25d9fb" providerId="ADAL" clId="{8371E356-2D55-4EC2-96DE-583FF76CC90E}" dt="2022-02-12T21:34:28.414" v="5663" actId="478"/>
          <ac:picMkLst>
            <pc:docMk/>
            <pc:sldMk cId="3639160541" sldId="308"/>
            <ac:picMk id="5" creationId="{F8EC6E0D-BF6F-4A9D-8B1A-3023C76A4B4D}"/>
          </ac:picMkLst>
        </pc:picChg>
      </pc:sldChg>
      <pc:sldChg chg="add del">
        <pc:chgData name="Julie M Petersen" userId="6fc7cfdc-6116-41d4-9a87-1fac2e25d9fb" providerId="ADAL" clId="{8371E356-2D55-4EC2-96DE-583FF76CC90E}" dt="2022-02-12T21:42:37.152" v="6054" actId="47"/>
        <pc:sldMkLst>
          <pc:docMk/>
          <pc:sldMk cId="1502810199" sldId="309"/>
        </pc:sldMkLst>
      </pc:sldChg>
      <pc:sldChg chg="addSp delSp modSp add del mod">
        <pc:chgData name="Julie M Petersen" userId="6fc7cfdc-6116-41d4-9a87-1fac2e25d9fb" providerId="ADAL" clId="{8371E356-2D55-4EC2-96DE-583FF76CC90E}" dt="2022-02-12T21:34:55.293" v="5668" actId="47"/>
        <pc:sldMkLst>
          <pc:docMk/>
          <pc:sldMk cId="1756148407" sldId="309"/>
        </pc:sldMkLst>
        <pc:spChg chg="mod">
          <ac:chgData name="Julie M Petersen" userId="6fc7cfdc-6116-41d4-9a87-1fac2e25d9fb" providerId="ADAL" clId="{8371E356-2D55-4EC2-96DE-583FF76CC90E}" dt="2022-02-12T21:25:54.439" v="5650" actId="20577"/>
          <ac:spMkLst>
            <pc:docMk/>
            <pc:sldMk cId="1756148407" sldId="30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2T21:25:45.127" v="5626" actId="478"/>
          <ac:spMkLst>
            <pc:docMk/>
            <pc:sldMk cId="1756148407" sldId="30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2T21:25:50.081" v="5627" actId="478"/>
          <ac:spMkLst>
            <pc:docMk/>
            <pc:sldMk cId="1756148407" sldId="30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5" creationId="{340E5E31-EBA7-4CA1-947D-4C4E2F3DE990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6" creationId="{653DF8EC-12D1-4EF8-BA42-A387BC1B5D63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7" creationId="{66752542-6A33-4410-B94E-A1B87516F831}"/>
          </ac:spMkLst>
        </pc:sp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" creationId="{A12FA880-6290-4B45-88B6-E547643E9F18}"/>
          </ac:picMkLst>
        </pc:picChg>
        <pc:picChg chg="add del mod modCrop">
          <ac:chgData name="Julie M Petersen" userId="6fc7cfdc-6116-41d4-9a87-1fac2e25d9fb" providerId="ADAL" clId="{8371E356-2D55-4EC2-96DE-583FF76CC90E}" dt="2022-02-12T21:33:56.961" v="5655" actId="478"/>
          <ac:picMkLst>
            <pc:docMk/>
            <pc:sldMk cId="1756148407" sldId="309"/>
            <ac:picMk id="6" creationId="{E3CC89E2-864E-438E-BD96-4ADC7A56B412}"/>
          </ac:picMkLst>
        </pc:picChg>
        <pc:picChg chg="add mod">
          <ac:chgData name="Julie M Petersen" userId="6fc7cfdc-6116-41d4-9a87-1fac2e25d9fb" providerId="ADAL" clId="{8371E356-2D55-4EC2-96DE-583FF76CC90E}" dt="2022-02-12T21:34:28.909" v="5664" actId="1076"/>
          <ac:picMkLst>
            <pc:docMk/>
            <pc:sldMk cId="1756148407" sldId="309"/>
            <ac:picMk id="8" creationId="{F6F71DDA-2A7F-446D-881D-21AF9AFB98AE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38" creationId="{E9D3313F-E0E1-4A2E-B92F-0F21C3CFC02A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126" creationId="{220354F3-42C3-4FE2-ADE0-5B80E185B6A9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128" creationId="{B0F21C53-1289-4723-9989-7D16102ADB33}"/>
          </ac:picMkLst>
        </pc:pic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17" creationId="{12DDF7CE-81FE-4301-9048-A76C2E001D77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4" creationId="{319667FE-6FFD-45E6-BB5D-E1CC062E9FD0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9" creationId="{C3D76B68-3961-49CB-806E-30A895440727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CF68BC-C0C1-4740-B1BC-01AF8EFFB980}" type="datetimeFigureOut">
              <a:rPr lang="en-US" smtClean="0"/>
              <a:t>2/1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E82FD2-F864-2E4E-ACF0-2DBC196A70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142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AF3450-104B-47D0-B01B-DC08566F9D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86175" y="0"/>
            <a:ext cx="8505825" cy="6858000"/>
          </a:xfrm>
          <a:custGeom>
            <a:avLst/>
            <a:gdLst>
              <a:gd name="connsiteX0" fmla="*/ 1701752 w 8505825"/>
              <a:gd name="connsiteY0" fmla="*/ 0 h 6858000"/>
              <a:gd name="connsiteX1" fmla="*/ 8505825 w 8505825"/>
              <a:gd name="connsiteY1" fmla="*/ 0 h 6858000"/>
              <a:gd name="connsiteX2" fmla="*/ 8505825 w 8505825"/>
              <a:gd name="connsiteY2" fmla="*/ 6858000 h 6858000"/>
              <a:gd name="connsiteX3" fmla="*/ 0 w 8505825"/>
              <a:gd name="connsiteY3" fmla="*/ 6858000 h 6858000"/>
              <a:gd name="connsiteX4" fmla="*/ 0 w 8505825"/>
              <a:gd name="connsiteY4" fmla="*/ 6837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05825" h="6858000">
                <a:moveTo>
                  <a:pt x="1701752" y="0"/>
                </a:moveTo>
                <a:lnTo>
                  <a:pt x="8505825" y="0"/>
                </a:lnTo>
                <a:lnTo>
                  <a:pt x="8505825" y="6858000"/>
                </a:lnTo>
                <a:lnTo>
                  <a:pt x="0" y="6858000"/>
                </a:lnTo>
                <a:lnTo>
                  <a:pt x="0" y="6837396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3C4921B-870F-DA4B-99FE-526B47FAF5FF}"/>
              </a:ext>
            </a:extLst>
          </p:cNvPr>
          <p:cNvCxnSpPr/>
          <p:nvPr userDrawn="1"/>
        </p:nvCxnSpPr>
        <p:spPr>
          <a:xfrm flipH="1">
            <a:off x="351011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3C217E0E-2C1A-4D03-BC55-D7D6609B8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683" y="879635"/>
            <a:ext cx="7659486" cy="1198178"/>
          </a:xfrm>
          <a:custGeom>
            <a:avLst/>
            <a:gdLst>
              <a:gd name="connsiteX0" fmla="*/ 0 w 7659486"/>
              <a:gd name="connsiteY0" fmla="*/ 0 h 1198178"/>
              <a:gd name="connsiteX1" fmla="*/ 7659486 w 7659486"/>
              <a:gd name="connsiteY1" fmla="*/ 0 h 1198178"/>
              <a:gd name="connsiteX2" fmla="*/ 7355455 w 7659486"/>
              <a:gd name="connsiteY2" fmla="*/ 1198178 h 1198178"/>
              <a:gd name="connsiteX3" fmla="*/ 0 w 7659486"/>
              <a:gd name="connsiteY3" fmla="*/ 1198178 h 1198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59486" h="1198178">
                <a:moveTo>
                  <a:pt x="0" y="0"/>
                </a:moveTo>
                <a:lnTo>
                  <a:pt x="7659486" y="0"/>
                </a:lnTo>
                <a:lnTo>
                  <a:pt x="7355455" y="1198178"/>
                </a:lnTo>
                <a:lnTo>
                  <a:pt x="0" y="119817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20040">
            <a:noAutofit/>
          </a:bodyPr>
          <a:lstStyle>
            <a:lvl1pPr>
              <a:defRPr sz="400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2952599" cy="1781642"/>
          </a:xfrm>
        </p:spPr>
        <p:txBody>
          <a:bodyPr>
            <a:normAutofit/>
          </a:bodyPr>
          <a:lstStyle>
            <a:lvl1pPr marL="0" indent="0" algn="l"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498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46AC40-4848-C146-B8DE-C805F662D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016" y="983785"/>
            <a:ext cx="8447439" cy="1074828"/>
          </a:xfrm>
        </p:spPr>
        <p:txBody>
          <a:bodyPr>
            <a:normAutofit/>
          </a:bodyPr>
          <a:lstStyle>
            <a:lvl1pPr>
              <a:defRPr sz="4000" spc="300">
                <a:solidFill>
                  <a:schemeClr val="tx2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9666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F4C3CA-7962-4B8E-8004-FBD88F0EF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B1597006-230C-EE41-ACD1-3FF8D7F2D9A3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7B5E76-E101-4994-92F5-1F540EB16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53114" y="6356350"/>
            <a:ext cx="2188029" cy="365125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49F242-2699-411D-B3F7-3D6D480E4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9FE6242-19BA-2847-9959-30D6F0E27035}"/>
              </a:ext>
            </a:extLst>
          </p:cNvPr>
          <p:cNvCxnSpPr/>
          <p:nvPr userDrawn="1"/>
        </p:nvCxnSpPr>
        <p:spPr>
          <a:xfrm flipH="1">
            <a:off x="633306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715A3155-E4BF-478C-8D90-C66F5EB274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6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28600" anchor="ctr">
            <a:noAutofit/>
          </a:bodyPr>
          <a:lstStyle>
            <a:lvl1pPr algn="l">
              <a:lnSpc>
                <a:spcPct val="100000"/>
              </a:lnSpc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DF23CDC-9A9D-5247-AD71-0A10D94BDC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4413068" cy="3539265"/>
          </a:xfrm>
        </p:spPr>
        <p:txBody>
          <a:bodyPr>
            <a:normAutofit/>
          </a:bodyPr>
          <a:lstStyle>
            <a:lvl1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DA38E85-9448-450D-A4ED-FFA79C7100D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61342" y="0"/>
            <a:ext cx="5730658" cy="6858000"/>
          </a:xfrm>
          <a:custGeom>
            <a:avLst/>
            <a:gdLst>
              <a:gd name="connsiteX0" fmla="*/ 1688746 w 5730658"/>
              <a:gd name="connsiteY0" fmla="*/ 0 h 6858000"/>
              <a:gd name="connsiteX1" fmla="*/ 5730658 w 5730658"/>
              <a:gd name="connsiteY1" fmla="*/ 0 h 6858000"/>
              <a:gd name="connsiteX2" fmla="*/ 5730658 w 5730658"/>
              <a:gd name="connsiteY2" fmla="*/ 6858000 h 6858000"/>
              <a:gd name="connsiteX3" fmla="*/ 31751 w 5730658"/>
              <a:gd name="connsiteY3" fmla="*/ 6858000 h 6858000"/>
              <a:gd name="connsiteX4" fmla="*/ 31751 w 5730658"/>
              <a:gd name="connsiteY4" fmla="*/ 6857688 h 6858000"/>
              <a:gd name="connsiteX5" fmla="*/ 0 w 5730658"/>
              <a:gd name="connsiteY5" fmla="*/ 6857932 h 6858000"/>
              <a:gd name="connsiteX6" fmla="*/ 31751 w 5730658"/>
              <a:gd name="connsiteY6" fmla="*/ 6729501 h 6858000"/>
              <a:gd name="connsiteX7" fmla="*/ 31751 w 5730658"/>
              <a:gd name="connsiteY7" fmla="*/ 6681788 h 6858000"/>
              <a:gd name="connsiteX8" fmla="*/ 43547 w 5730658"/>
              <a:gd name="connsiteY8" fmla="*/ 6681788 h 6858000"/>
              <a:gd name="connsiteX9" fmla="*/ 1688746 w 5730658"/>
              <a:gd name="connsiteY9" fmla="*/ 270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30658" h="6858000">
                <a:moveTo>
                  <a:pt x="1688746" y="0"/>
                </a:moveTo>
                <a:lnTo>
                  <a:pt x="5730658" y="0"/>
                </a:lnTo>
                <a:lnTo>
                  <a:pt x="5730658" y="6858000"/>
                </a:lnTo>
                <a:lnTo>
                  <a:pt x="31751" y="6858000"/>
                </a:lnTo>
                <a:lnTo>
                  <a:pt x="31751" y="6857688"/>
                </a:lnTo>
                <a:lnTo>
                  <a:pt x="0" y="6857932"/>
                </a:lnTo>
                <a:lnTo>
                  <a:pt x="31751" y="6729501"/>
                </a:lnTo>
                <a:lnTo>
                  <a:pt x="31751" y="6681788"/>
                </a:lnTo>
                <a:lnTo>
                  <a:pt x="43547" y="6681788"/>
                </a:lnTo>
                <a:lnTo>
                  <a:pt x="1688746" y="2705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694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F72571D-58D5-4367-9E7E-94A5A5D795B8}"/>
              </a:ext>
            </a:extLst>
          </p:cNvPr>
          <p:cNvSpPr/>
          <p:nvPr userDrawn="1"/>
        </p:nvSpPr>
        <p:spPr>
          <a:xfrm>
            <a:off x="693682" y="2286000"/>
            <a:ext cx="11498318" cy="34163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CD184E7-842E-4CDA-8022-CFE5CEA0DBE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8534400" cy="6858000"/>
          </a:xfrm>
          <a:custGeom>
            <a:avLst/>
            <a:gdLst>
              <a:gd name="connsiteX0" fmla="*/ 0 w 8534400"/>
              <a:gd name="connsiteY0" fmla="*/ 0 h 6858000"/>
              <a:gd name="connsiteX1" fmla="*/ 6827520 w 8534400"/>
              <a:gd name="connsiteY1" fmla="*/ 0 h 6858000"/>
              <a:gd name="connsiteX2" fmla="*/ 7396480 w 8534400"/>
              <a:gd name="connsiteY2" fmla="*/ 2286000 h 6858000"/>
              <a:gd name="connsiteX3" fmla="*/ 693682 w 8534400"/>
              <a:gd name="connsiteY3" fmla="*/ 2286000 h 6858000"/>
              <a:gd name="connsiteX4" fmla="*/ 693682 w 8534400"/>
              <a:gd name="connsiteY4" fmla="*/ 5702300 h 6858000"/>
              <a:gd name="connsiteX5" fmla="*/ 8246759 w 8534400"/>
              <a:gd name="connsiteY5" fmla="*/ 5702300 h 6858000"/>
              <a:gd name="connsiteX6" fmla="*/ 8534400 w 8534400"/>
              <a:gd name="connsiteY6" fmla="*/ 6858000 h 6858000"/>
              <a:gd name="connsiteX7" fmla="*/ 0 w 85344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858000">
                <a:moveTo>
                  <a:pt x="0" y="0"/>
                </a:moveTo>
                <a:lnTo>
                  <a:pt x="6827520" y="0"/>
                </a:lnTo>
                <a:lnTo>
                  <a:pt x="7396480" y="2286000"/>
                </a:lnTo>
                <a:lnTo>
                  <a:pt x="693682" y="2286000"/>
                </a:lnTo>
                <a:lnTo>
                  <a:pt x="693682" y="5702300"/>
                </a:lnTo>
                <a:lnTo>
                  <a:pt x="8246759" y="5702300"/>
                </a:lnTo>
                <a:lnTo>
                  <a:pt x="85344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F4C3CA-7962-4B8E-8004-FBD88F0EF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1597006-230C-EE41-ACD1-3FF8D7F2D9A3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7B5E76-E101-4994-92F5-1F540EB16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49F242-2699-411D-B3F7-3D6D480E4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650A3-C37B-8949-AAFB-1CA610A432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61069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823CE96-7B45-0E4E-8DD2-AAE6F7DB97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15132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F451F20-9248-594B-8CD5-3442A64513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19032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2008AA3-BEDF-CE40-9D94-F5875454E799}"/>
              </a:ext>
            </a:extLst>
          </p:cNvPr>
          <p:cNvCxnSpPr>
            <a:cxnSpLocks/>
          </p:cNvCxnSpPr>
          <p:nvPr userDrawn="1"/>
        </p:nvCxnSpPr>
        <p:spPr>
          <a:xfrm>
            <a:off x="710823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9">
            <a:extLst>
              <a:ext uri="{FF2B5EF4-FFF2-40B4-BE49-F238E27FC236}">
                <a16:creationId xmlns:a16="http://schemas.microsoft.com/office/drawing/2014/main" id="{028065BE-52F2-4F89-82A3-E5DA80527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4" y="879636"/>
            <a:ext cx="6294727" cy="1206888"/>
          </a:xfrm>
          <a:custGeom>
            <a:avLst/>
            <a:gdLst>
              <a:gd name="connsiteX0" fmla="*/ 5986630 w 6294727"/>
              <a:gd name="connsiteY0" fmla="*/ 0 h 1206888"/>
              <a:gd name="connsiteX1" fmla="*/ 6294727 w 6294727"/>
              <a:gd name="connsiteY1" fmla="*/ 1206888 h 1206888"/>
              <a:gd name="connsiteX2" fmla="*/ 0 w 6294727"/>
              <a:gd name="connsiteY2" fmla="*/ 1206888 h 1206888"/>
              <a:gd name="connsiteX3" fmla="*/ 0 w 6294727"/>
              <a:gd name="connsiteY3" fmla="*/ 8709 h 120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94727" h="1206888">
                <a:moveTo>
                  <a:pt x="5986630" y="0"/>
                </a:moveTo>
                <a:lnTo>
                  <a:pt x="6294727" y="1206888"/>
                </a:lnTo>
                <a:lnTo>
                  <a:pt x="0" y="1206888"/>
                </a:lnTo>
                <a:lnTo>
                  <a:pt x="0" y="87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0270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A6943C0-A7A3-4C4C-BEB2-9176DE86300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81047" y="0"/>
            <a:ext cx="8510952" cy="6858000"/>
          </a:xfrm>
          <a:custGeom>
            <a:avLst/>
            <a:gdLst>
              <a:gd name="connsiteX0" fmla="*/ 1706880 w 8510952"/>
              <a:gd name="connsiteY0" fmla="*/ 0 h 6858000"/>
              <a:gd name="connsiteX1" fmla="*/ 8510952 w 8510952"/>
              <a:gd name="connsiteY1" fmla="*/ 0 h 6858000"/>
              <a:gd name="connsiteX2" fmla="*/ 8510952 w 8510952"/>
              <a:gd name="connsiteY2" fmla="*/ 6858000 h 6858000"/>
              <a:gd name="connsiteX3" fmla="*/ 0 w 851095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10952" h="6858000">
                <a:moveTo>
                  <a:pt x="1706880" y="0"/>
                </a:moveTo>
                <a:lnTo>
                  <a:pt x="8510952" y="0"/>
                </a:lnTo>
                <a:lnTo>
                  <a:pt x="851095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04F3C93-C085-8A47-9A2A-6AD3F3D69F4E}"/>
              </a:ext>
            </a:extLst>
          </p:cNvPr>
          <p:cNvCxnSpPr/>
          <p:nvPr userDrawn="1"/>
        </p:nvCxnSpPr>
        <p:spPr>
          <a:xfrm flipH="1">
            <a:off x="351011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941283B3-F5BE-4FDF-829D-D1BE17F716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5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20040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41A16B-3688-D842-92F4-5D2C281153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2952599" cy="353926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19933E8-EEFC-754B-93AE-557EFF8A79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>
            <a:lvl1pPr>
              <a:defRPr sz="1000"/>
            </a:lvl1pPr>
          </a:lstStyle>
          <a:p>
            <a:fld id="{95937ADF-F9E1-BA4B-9DD9-49C1B8F55FAB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1EDEC1-EB5D-6C48-A2AB-048088167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33BD7B8-5805-4D48-B17D-88E5EE750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2712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D6AC9F3-6F32-409B-A3B1-EEF36BA066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534400" cy="6858000"/>
          </a:xfrm>
          <a:custGeom>
            <a:avLst/>
            <a:gdLst>
              <a:gd name="connsiteX0" fmla="*/ 0 w 8534400"/>
              <a:gd name="connsiteY0" fmla="*/ 0 h 6858000"/>
              <a:gd name="connsiteX1" fmla="*/ 6827520 w 8534400"/>
              <a:gd name="connsiteY1" fmla="*/ 0 h 6858000"/>
              <a:gd name="connsiteX2" fmla="*/ 7070048 w 8534400"/>
              <a:gd name="connsiteY2" fmla="*/ 974442 h 6858000"/>
              <a:gd name="connsiteX3" fmla="*/ 5680814 w 8534400"/>
              <a:gd name="connsiteY3" fmla="*/ 974442 h 6858000"/>
              <a:gd name="connsiteX4" fmla="*/ 5680814 w 8534400"/>
              <a:gd name="connsiteY4" fmla="*/ 5758652 h 6858000"/>
              <a:gd name="connsiteX5" fmla="*/ 8260785 w 8534400"/>
              <a:gd name="connsiteY5" fmla="*/ 5758652 h 6858000"/>
              <a:gd name="connsiteX6" fmla="*/ 8534400 w 8534400"/>
              <a:gd name="connsiteY6" fmla="*/ 6858000 h 6858000"/>
              <a:gd name="connsiteX7" fmla="*/ 0 w 85344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858000">
                <a:moveTo>
                  <a:pt x="0" y="0"/>
                </a:moveTo>
                <a:lnTo>
                  <a:pt x="6827520" y="0"/>
                </a:lnTo>
                <a:lnTo>
                  <a:pt x="7070048" y="974442"/>
                </a:lnTo>
                <a:lnTo>
                  <a:pt x="5680814" y="974442"/>
                </a:lnTo>
                <a:lnTo>
                  <a:pt x="5680814" y="5758652"/>
                </a:lnTo>
                <a:lnTo>
                  <a:pt x="8260785" y="5758652"/>
                </a:lnTo>
                <a:lnTo>
                  <a:pt x="85344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6FF020-BB93-4C6C-B3ED-8326D424097A}"/>
              </a:ext>
            </a:extLst>
          </p:cNvPr>
          <p:cNvSpPr/>
          <p:nvPr userDrawn="1"/>
        </p:nvSpPr>
        <p:spPr>
          <a:xfrm>
            <a:off x="5680814" y="974442"/>
            <a:ext cx="5228191" cy="478421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942173C-2B01-804E-85FB-4D68140D4E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106424"/>
            <a:ext cx="4446062" cy="916644"/>
          </a:xfrm>
        </p:spPr>
        <p:txBody>
          <a:bodyPr anchor="b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41A16B-3688-D842-92F4-5D2C281153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2075245"/>
            <a:ext cx="4446062" cy="3295405"/>
          </a:xfrm>
        </p:spPr>
        <p:txBody>
          <a:bodyPr>
            <a:normAutofit/>
          </a:bodyPr>
          <a:lstStyle>
            <a:lvl1pPr marL="0" indent="0" algn="l">
              <a:lnSpc>
                <a:spcPct val="125000"/>
              </a:lnSpc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04F3C93-C085-8A47-9A2A-6AD3F3D69F4E}"/>
              </a:ext>
            </a:extLst>
          </p:cNvPr>
          <p:cNvCxnSpPr>
            <a:cxnSpLocks/>
          </p:cNvCxnSpPr>
          <p:nvPr userDrawn="1"/>
        </p:nvCxnSpPr>
        <p:spPr>
          <a:xfrm>
            <a:off x="710823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19933E8-EEFC-754B-93AE-557EFF8A79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10B419B9-5288-FE4A-9F37-54AAEB8CA389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1EDEC1-EB5D-6C48-A2AB-048088167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33BD7B8-5805-4D48-B17D-88E5EE750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>
            <a:lvl1pPr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00B690-D495-014F-8F60-C8152AD122A2}"/>
              </a:ext>
            </a:extLst>
          </p:cNvPr>
          <p:cNvSpPr/>
          <p:nvPr userDrawn="1"/>
        </p:nvSpPr>
        <p:spPr>
          <a:xfrm>
            <a:off x="11504428" y="382772"/>
            <a:ext cx="382772" cy="3827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D3DB60-9D00-2B4C-A1B6-A76F20998922}"/>
              </a:ext>
            </a:extLst>
          </p:cNvPr>
          <p:cNvSpPr/>
          <p:nvPr userDrawn="1"/>
        </p:nvSpPr>
        <p:spPr>
          <a:xfrm>
            <a:off x="11504428" y="974442"/>
            <a:ext cx="382772" cy="3827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4B7F1F1-6439-8D45-8BCD-B68DB64CEDC1}"/>
              </a:ext>
            </a:extLst>
          </p:cNvPr>
          <p:cNvSpPr/>
          <p:nvPr userDrawn="1"/>
        </p:nvSpPr>
        <p:spPr>
          <a:xfrm>
            <a:off x="11504428" y="1566113"/>
            <a:ext cx="382772" cy="3827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870777-57CE-7A40-BCBA-E189F67DF446}"/>
              </a:ext>
            </a:extLst>
          </p:cNvPr>
          <p:cNvSpPr/>
          <p:nvPr userDrawn="1"/>
        </p:nvSpPr>
        <p:spPr>
          <a:xfrm>
            <a:off x="11504428" y="2157783"/>
            <a:ext cx="382772" cy="3827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332DFE-5DF9-9744-86D5-7CE052E088CE}"/>
              </a:ext>
            </a:extLst>
          </p:cNvPr>
          <p:cNvSpPr/>
          <p:nvPr userDrawn="1"/>
        </p:nvSpPr>
        <p:spPr>
          <a:xfrm>
            <a:off x="11504428" y="2755481"/>
            <a:ext cx="382772" cy="3827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699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69568F-F17C-4C3C-9A6F-ED292B601115}"/>
              </a:ext>
            </a:extLst>
          </p:cNvPr>
          <p:cNvSpPr/>
          <p:nvPr userDrawn="1"/>
        </p:nvSpPr>
        <p:spPr>
          <a:xfrm>
            <a:off x="2043953" y="2205318"/>
            <a:ext cx="8104094" cy="23128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2459DEE-E152-47DA-8D52-C9681014BC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043953 w 12192000"/>
              <a:gd name="connsiteY0" fmla="*/ 2205318 h 6858000"/>
              <a:gd name="connsiteX1" fmla="*/ 2043953 w 12192000"/>
              <a:gd name="connsiteY1" fmla="*/ 4518212 h 6858000"/>
              <a:gd name="connsiteX2" fmla="*/ 10148047 w 12192000"/>
              <a:gd name="connsiteY2" fmla="*/ 4518212 h 6858000"/>
              <a:gd name="connsiteX3" fmla="*/ 10148047 w 12192000"/>
              <a:gd name="connsiteY3" fmla="*/ 2205318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043953" y="2205318"/>
                </a:moveTo>
                <a:lnTo>
                  <a:pt x="2043953" y="4518212"/>
                </a:lnTo>
                <a:lnTo>
                  <a:pt x="10148047" y="4518212"/>
                </a:lnTo>
                <a:lnTo>
                  <a:pt x="10148047" y="220531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DFA2E8-50A1-4465-AC33-6FAC0E773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2050" y="2665037"/>
            <a:ext cx="7327900" cy="902916"/>
          </a:xfrm>
        </p:spPr>
        <p:txBody>
          <a:bodyPr anchor="ctr">
            <a:normAutofit/>
          </a:bodyPr>
          <a:lstStyle>
            <a:lvl1pPr algn="ctr">
              <a:defRPr sz="4000" spc="30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65DE34-CDB7-41F7-A95A-592B99558C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7462" y="3567953"/>
            <a:ext cx="4997076" cy="610066"/>
          </a:xfrm>
        </p:spPr>
        <p:txBody>
          <a:bodyPr>
            <a:normAutofit/>
          </a:bodyPr>
          <a:lstStyle>
            <a:lvl1pPr marL="0" indent="0" algn="ctr">
              <a:buNone/>
              <a:defRPr sz="2000" spc="30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2635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016" y="983785"/>
            <a:ext cx="8447439" cy="1074828"/>
          </a:xfrm>
        </p:spPr>
        <p:txBody>
          <a:bodyPr>
            <a:normAutofit/>
          </a:bodyPr>
          <a:lstStyle>
            <a:lvl1pPr>
              <a:defRPr sz="4000" spc="300">
                <a:solidFill>
                  <a:schemeClr val="tx2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582161-389A-C649-9A2B-A16F489BB170}"/>
              </a:ext>
            </a:extLst>
          </p:cNvPr>
          <p:cNvSpPr/>
          <p:nvPr userDrawn="1"/>
        </p:nvSpPr>
        <p:spPr>
          <a:xfrm>
            <a:off x="11504428" y="382772"/>
            <a:ext cx="382772" cy="3827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7AA420-2BBF-AF48-8EF7-EF3CC47451FA}"/>
              </a:ext>
            </a:extLst>
          </p:cNvPr>
          <p:cNvSpPr/>
          <p:nvPr userDrawn="1"/>
        </p:nvSpPr>
        <p:spPr>
          <a:xfrm>
            <a:off x="11504428" y="974442"/>
            <a:ext cx="382772" cy="3827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EDE653-D0BD-314F-B7B9-FD426A4C487F}"/>
              </a:ext>
            </a:extLst>
          </p:cNvPr>
          <p:cNvSpPr/>
          <p:nvPr userDrawn="1"/>
        </p:nvSpPr>
        <p:spPr>
          <a:xfrm>
            <a:off x="11504428" y="1566113"/>
            <a:ext cx="382772" cy="3827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C43E8D-A8CD-974D-B3E2-5B4500E55B0A}"/>
              </a:ext>
            </a:extLst>
          </p:cNvPr>
          <p:cNvSpPr/>
          <p:nvPr userDrawn="1"/>
        </p:nvSpPr>
        <p:spPr>
          <a:xfrm>
            <a:off x="11504428" y="2157783"/>
            <a:ext cx="382772" cy="3827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A540AC-3D9F-5A42-BE59-E7EC044230B4}"/>
              </a:ext>
            </a:extLst>
          </p:cNvPr>
          <p:cNvSpPr/>
          <p:nvPr userDrawn="1"/>
        </p:nvSpPr>
        <p:spPr>
          <a:xfrm>
            <a:off x="11504428" y="2755481"/>
            <a:ext cx="382772" cy="3827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E70196-45DE-CB4D-A7AC-0610E7A187C3}"/>
              </a:ext>
            </a:extLst>
          </p:cNvPr>
          <p:cNvCxnSpPr/>
          <p:nvPr userDrawn="1"/>
        </p:nvCxnSpPr>
        <p:spPr>
          <a:xfrm flipH="1">
            <a:off x="9211669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6947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E70196-45DE-CB4D-A7AC-0610E7A187C3}"/>
              </a:ext>
            </a:extLst>
          </p:cNvPr>
          <p:cNvCxnSpPr/>
          <p:nvPr userDrawn="1"/>
        </p:nvCxnSpPr>
        <p:spPr>
          <a:xfrm flipH="1">
            <a:off x="9211669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B329649E-3847-4CC6-A84D-56DE76BD19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5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28600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E120DB-DDEC-4DDF-8FB4-5C52F8078B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3738" y="2705425"/>
            <a:ext cx="10745787" cy="3273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555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1764" y="2145265"/>
            <a:ext cx="8348472" cy="2363568"/>
          </a:xfrm>
          <a:noFill/>
        </p:spPr>
        <p:txBody>
          <a:bodyPr>
            <a:normAutofit/>
          </a:bodyPr>
          <a:lstStyle>
            <a:lvl1pPr algn="ctr">
              <a:defRPr sz="4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B51AFA9-C4C0-D44A-BE1A-30964CBCFE37}"/>
              </a:ext>
            </a:extLst>
          </p:cNvPr>
          <p:cNvSpPr txBox="1">
            <a:spLocks/>
          </p:cNvSpPr>
          <p:nvPr userDrawn="1"/>
        </p:nvSpPr>
        <p:spPr>
          <a:xfrm>
            <a:off x="970130" y="1879594"/>
            <a:ext cx="1141699" cy="1220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300">
                <a:solidFill>
                  <a:schemeClr val="tx2"/>
                </a:solidFill>
                <a:latin typeface="Tw Cen MT" panose="020B0602020104020603" pitchFamily="34" charset="77"/>
                <a:ea typeface="+mj-ea"/>
                <a:cs typeface="+mj-cs"/>
              </a:defRPr>
            </a:lvl1pPr>
          </a:lstStyle>
          <a:p>
            <a:r>
              <a:rPr lang="en-US" sz="16600" dirty="0">
                <a:solidFill>
                  <a:schemeClr val="accent3">
                    <a:lumMod val="75000"/>
                  </a:schemeClr>
                </a:solidFill>
              </a:rPr>
              <a:t>“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169998-8E4C-AC45-9496-F3E1D40DD604}"/>
              </a:ext>
            </a:extLst>
          </p:cNvPr>
          <p:cNvSpPr txBox="1">
            <a:spLocks/>
          </p:cNvSpPr>
          <p:nvPr userDrawn="1"/>
        </p:nvSpPr>
        <p:spPr>
          <a:xfrm>
            <a:off x="10408852" y="4443180"/>
            <a:ext cx="1141699" cy="1220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300">
                <a:solidFill>
                  <a:schemeClr val="tx2"/>
                </a:solidFill>
                <a:latin typeface="Tw Cen MT" panose="020B0602020104020603" pitchFamily="34" charset="77"/>
                <a:ea typeface="+mj-ea"/>
                <a:cs typeface="+mj-cs"/>
              </a:defRPr>
            </a:lvl1pPr>
          </a:lstStyle>
          <a:p>
            <a:r>
              <a:rPr lang="en-US" sz="16600" dirty="0">
                <a:solidFill>
                  <a:schemeClr val="accent3">
                    <a:lumMod val="75000"/>
                  </a:schemeClr>
                </a:solidFill>
              </a:rPr>
              <a:t>”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3F62FE2-8018-8846-A38A-108C9B02DF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2738" y="4526051"/>
            <a:ext cx="3727450" cy="515938"/>
          </a:xfrm>
          <a:noFill/>
        </p:spPr>
        <p:txBody>
          <a:bodyPr>
            <a:noAutofit/>
          </a:bodyPr>
          <a:lstStyle>
            <a:lvl1pPr marL="0" indent="0" algn="r"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r">
              <a:buNone/>
              <a:defRPr sz="1800">
                <a:solidFill>
                  <a:schemeClr val="tx2"/>
                </a:solidFill>
                <a:latin typeface="Tw Cen MT" panose="020B0602020104020603" pitchFamily="34" charset="77"/>
              </a:defRPr>
            </a:lvl2pPr>
            <a:lvl3pPr marL="914400" indent="0" algn="r">
              <a:buNone/>
              <a:defRPr sz="1600">
                <a:solidFill>
                  <a:schemeClr val="tx2"/>
                </a:solidFill>
                <a:latin typeface="Tw Cen MT" panose="020B0602020104020603" pitchFamily="34" charset="77"/>
              </a:defRPr>
            </a:lvl3pPr>
            <a:lvl4pPr marL="1371600" indent="0" algn="r">
              <a:buNone/>
              <a:defRPr sz="1400">
                <a:solidFill>
                  <a:schemeClr val="tx2"/>
                </a:solidFill>
                <a:latin typeface="Tw Cen MT" panose="020B0602020104020603" pitchFamily="34" charset="77"/>
              </a:defRPr>
            </a:lvl4pPr>
            <a:lvl5pPr marL="1828800" indent="0" algn="r">
              <a:buNone/>
              <a:defRPr sz="1400">
                <a:solidFill>
                  <a:schemeClr val="tx2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318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1F428E6-A8A2-E844-9C02-078ED4D993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A4486D74-B37B-F546-968B-4AC3E7616DD3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7B76286-63A1-AF4F-B23C-363AA8A847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8044" y="2405063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F5D22F-DDAB-8A40-B9D8-54ACF9C0E0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0773" y="2498043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3970178A-7D91-5F40-B3BD-58988D1D23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00773" y="2922586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16">
            <a:extLst>
              <a:ext uri="{FF2B5EF4-FFF2-40B4-BE49-F238E27FC236}">
                <a16:creationId xmlns:a16="http://schemas.microsoft.com/office/drawing/2014/main" id="{6D61AF1F-6298-744E-B9E2-999EED4A1EC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38044" y="4021592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B409E4EC-6771-344F-AC49-F0493C4E50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0773" y="4114572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22E21560-0E2C-7E48-882F-77B02B0CE3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0773" y="4539115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E38C0995-936E-464D-86FA-9C8847D9C4D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710265" y="2405063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00F264F2-A8BF-BF4E-82E5-457A75FF3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72994" y="2498043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C969F956-9E58-0C47-8A73-BA9372304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72994" y="2922586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16">
            <a:extLst>
              <a:ext uri="{FF2B5EF4-FFF2-40B4-BE49-F238E27FC236}">
                <a16:creationId xmlns:a16="http://schemas.microsoft.com/office/drawing/2014/main" id="{3A0B62B7-7680-5D4B-BC6D-4FFA4956151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710265" y="4021592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6C664169-B5AF-FB46-AA38-C9DDC1EB8F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72994" y="4114572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EB349D7E-9425-EA4B-906F-145652D0079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2994" y="4539115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E6971742-A7E0-0D4A-AE6E-496FB9EC1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6017" y="978408"/>
            <a:ext cx="8357616" cy="1088136"/>
          </a:xfrm>
        </p:spPr>
        <p:txBody>
          <a:bodyPr anchor="ctr">
            <a:norm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849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1F428E6-A8A2-E844-9C02-078ED4D993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A4486D74-B37B-F546-968B-4AC3E7616DD3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7B76286-63A1-AF4F-B23C-363AA8A847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8044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F5D22F-DDAB-8A40-B9D8-54ACF9C0E0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38044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3970178A-7D91-5F40-B3BD-58988D1D23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38044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6A88DE59-CC76-784E-91CC-86A873E12B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719251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EC7436AA-C631-914A-893C-01BFCB5144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9251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7D3267A9-41C6-6D41-B94A-AF3A0B8D3C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9251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16">
            <a:extLst>
              <a:ext uri="{FF2B5EF4-FFF2-40B4-BE49-F238E27FC236}">
                <a16:creationId xmlns:a16="http://schemas.microsoft.com/office/drawing/2014/main" id="{0CA14719-28D1-1245-82ED-C30AEA3FF5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15955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A0F20BEC-0D1F-424C-A708-3CD1B159CB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5955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1AF30013-E0ED-7F43-83DA-D58BF2C564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15955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16">
            <a:extLst>
              <a:ext uri="{FF2B5EF4-FFF2-40B4-BE49-F238E27FC236}">
                <a16:creationId xmlns:a16="http://schemas.microsoft.com/office/drawing/2014/main" id="{6F279F35-215F-8247-9F1E-B98FCFCBDCD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162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18">
            <a:extLst>
              <a:ext uri="{FF2B5EF4-FFF2-40B4-BE49-F238E27FC236}">
                <a16:creationId xmlns:a16="http://schemas.microsoft.com/office/drawing/2014/main" id="{A61B963F-0880-1E47-A659-7FC76D4D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7162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8" name="Text Placeholder 18">
            <a:extLst>
              <a:ext uri="{FF2B5EF4-FFF2-40B4-BE49-F238E27FC236}">
                <a16:creationId xmlns:a16="http://schemas.microsoft.com/office/drawing/2014/main" id="{50E852F6-B5E8-8B43-801C-1C4F7B19A5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7162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Picture Placeholder 16">
            <a:extLst>
              <a:ext uri="{FF2B5EF4-FFF2-40B4-BE49-F238E27FC236}">
                <a16:creationId xmlns:a16="http://schemas.microsoft.com/office/drawing/2014/main" id="{4FA256BD-105F-BE40-B47B-B9E1894250B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38044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6A4AC0F6-874C-7C4C-9547-94508CE42D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38044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EA3CCA23-6E76-8F41-9FED-4DB323AEC8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38044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Picture Placeholder 16">
            <a:extLst>
              <a:ext uri="{FF2B5EF4-FFF2-40B4-BE49-F238E27FC236}">
                <a16:creationId xmlns:a16="http://schemas.microsoft.com/office/drawing/2014/main" id="{C2654D0F-1EF0-C945-B023-1561C866903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719251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117D52FF-094D-6749-8A26-B894CEF6AC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9251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0052C3E7-B5A5-E44C-91BD-16DB655583B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9251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16">
            <a:extLst>
              <a:ext uri="{FF2B5EF4-FFF2-40B4-BE49-F238E27FC236}">
                <a16:creationId xmlns:a16="http://schemas.microsoft.com/office/drawing/2014/main" id="{D4C618F6-4987-274F-8D08-0934922ACA5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415955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04553546-0C16-4843-8655-70FFDC038A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15955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0F174D17-C816-804A-BED4-E43623C4668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15955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16">
            <a:extLst>
              <a:ext uri="{FF2B5EF4-FFF2-40B4-BE49-F238E27FC236}">
                <a16:creationId xmlns:a16="http://schemas.microsoft.com/office/drawing/2014/main" id="{3A5BCDFF-966C-EE4B-B676-0DC4FE521CD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097162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3E877DB1-D772-1B4C-8F31-F2C6ACE01CF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97162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BE7B6561-93FC-9B47-B1F2-95F66BC3A85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97162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373FEBAB-37BE-6B43-AFCA-653DB9B959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6017" y="1033272"/>
            <a:ext cx="8357616" cy="969264"/>
          </a:xfrm>
        </p:spPr>
        <p:txBody>
          <a:bodyPr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061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207E7B6-9B91-44DE-91FD-FC67A4D60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1200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207E7B6-9B91-44DE-91FD-FC67A4D60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98F9AA-2C87-421D-97C1-B4248DFDC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98FC63-C8D2-4CE6-A3F1-EE8ED245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825625"/>
            <a:ext cx="1143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77A09-15C2-4E47-948E-AACAFCA4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17308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fld id="{8BA0ED1B-1813-CA43-9C57-D85969C5BB08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67522-C3B6-46EB-A361-BEC2510B00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spc="50" baseline="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57CF0-034F-450D-937C-718D5AF1A0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35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51" r:id="rId4"/>
    <p:sldLayoutId id="2147483654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52" r:id="rId11"/>
    <p:sldLayoutId id="2147483665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40" userDrawn="1">
          <p15:clr>
            <a:srgbClr val="547EBF"/>
          </p15:clr>
        </p15:guide>
        <p15:guide id="4" orient="horz" pos="240" userDrawn="1">
          <p15:clr>
            <a:srgbClr val="547EBF"/>
          </p15:clr>
        </p15:guide>
        <p15:guide id="5" pos="7440" userDrawn="1">
          <p15:clr>
            <a:srgbClr val="547EBF"/>
          </p15:clr>
        </p15:guide>
        <p15:guide id="6" orient="horz" pos="4080" userDrawn="1">
          <p15:clr>
            <a:srgbClr val="547EBF"/>
          </p15:clr>
        </p15:guide>
        <p15:guide id="7" pos="3960" userDrawn="1">
          <p15:clr>
            <a:srgbClr val="547EBF"/>
          </p15:clr>
        </p15:guide>
        <p15:guide id="8" pos="3720" userDrawn="1">
          <p15:clr>
            <a:srgbClr val="547EBF"/>
          </p15:clr>
        </p15:guide>
        <p15:guide id="9" pos="2112" userDrawn="1">
          <p15:clr>
            <a:srgbClr val="547EBF"/>
          </p15:clr>
        </p15:guide>
        <p15:guide id="10" pos="1848" userDrawn="1">
          <p15:clr>
            <a:srgbClr val="547EBF"/>
          </p15:clr>
        </p15:guide>
        <p15:guide id="11" pos="5568" userDrawn="1">
          <p15:clr>
            <a:srgbClr val="547EBF"/>
          </p15:clr>
        </p15:guide>
        <p15:guide id="12" pos="5832" userDrawn="1">
          <p15:clr>
            <a:srgbClr val="547EBF"/>
          </p15:clr>
        </p15:guide>
        <p15:guide id="13" pos="4968" userDrawn="1">
          <p15:clr>
            <a:srgbClr val="9FCC3B"/>
          </p15:clr>
        </p15:guide>
        <p15:guide id="14" pos="5208" userDrawn="1">
          <p15:clr>
            <a:srgbClr val="9FCC3B"/>
          </p15:clr>
        </p15:guide>
        <p15:guide id="15" pos="2712" userDrawn="1">
          <p15:clr>
            <a:srgbClr val="9FCC3B"/>
          </p15:clr>
        </p15:guide>
        <p15:guide id="16" pos="247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5" Type="http://schemas.openxmlformats.org/officeDocument/2006/relationships/image" Target="../media/image12.tmp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5" Type="http://schemas.openxmlformats.org/officeDocument/2006/relationships/image" Target="../media/image13.tmp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Relationship Id="rId5" Type="http://schemas.openxmlformats.org/officeDocument/2006/relationships/image" Target="../media/image14.tmp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5" Type="http://schemas.openxmlformats.org/officeDocument/2006/relationships/image" Target="../media/image15.tmp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5" Type="http://schemas.openxmlformats.org/officeDocument/2006/relationships/image" Target="../media/image16.tmp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6" Type="http://schemas.openxmlformats.org/officeDocument/2006/relationships/image" Target="../media/image18.png"/><Relationship Id="rId11" Type="http://schemas.microsoft.com/office/2007/relationships/hdphoto" Target="../media/hdphoto2.wdp"/><Relationship Id="rId5" Type="http://schemas.openxmlformats.org/officeDocument/2006/relationships/image" Target="../media/image17.png"/><Relationship Id="rId10" Type="http://schemas.openxmlformats.org/officeDocument/2006/relationships/image" Target="../media/image21.png"/><Relationship Id="rId4" Type="http://schemas.openxmlformats.org/officeDocument/2006/relationships/image" Target="../media/image1.emf"/><Relationship Id="rId9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0.xml"/><Relationship Id="rId5" Type="http://schemas.openxmlformats.org/officeDocument/2006/relationships/image" Target="../media/image22.tmp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mp"/><Relationship Id="rId3" Type="http://schemas.openxmlformats.org/officeDocument/2006/relationships/oleObject" Target="../embeddings/oleObject6.bin"/><Relationship Id="rId7" Type="http://schemas.openxmlformats.org/officeDocument/2006/relationships/image" Target="../media/image5.tmp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6" Type="http://schemas.openxmlformats.org/officeDocument/2006/relationships/image" Target="../media/image4.tm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9.tmp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8.tmp"/><Relationship Id="rId5" Type="http://schemas.openxmlformats.org/officeDocument/2006/relationships/image" Target="../media/image7.tmp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5" Type="http://schemas.openxmlformats.org/officeDocument/2006/relationships/image" Target="../media/image10.tmp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5" Type="http://schemas.openxmlformats.org/officeDocument/2006/relationships/image" Target="../media/image11.tmp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F71878-C8BC-411D-8C11-EFD2E8AC8C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21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F71878-C8BC-411D-8C11-EFD2E8AC8C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 descr="Close up of top of bridge">
            <a:extLst>
              <a:ext uri="{FF2B5EF4-FFF2-40B4-BE49-F238E27FC236}">
                <a16:creationId xmlns:a16="http://schemas.microsoft.com/office/drawing/2014/main" id="{032D3464-35A7-A04C-BFD9-82F88CBEEAC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60295B-54B9-4937-90E3-BAB9CE69E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2050" y="2665037"/>
            <a:ext cx="7327900" cy="902916"/>
          </a:xfrm>
        </p:spPr>
        <p:txBody>
          <a:bodyPr vert="horz" anchor="ctr">
            <a:normAutofit fontScale="90000"/>
          </a:bodyPr>
          <a:lstStyle/>
          <a:p>
            <a:r>
              <a:rPr lang="en-US" dirty="0"/>
              <a:t>SAN FRANCISCO CRIME DAT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A6D85-3837-435F-A342-5A3F98172B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7462" y="3567953"/>
            <a:ext cx="4997076" cy="61006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Julie Maria Petersen</a:t>
            </a:r>
          </a:p>
        </p:txBody>
      </p:sp>
    </p:spTree>
    <p:extLst>
      <p:ext uri="{BB962C8B-B14F-4D97-AF65-F5344CB8AC3E}">
        <p14:creationId xmlns:p14="http://schemas.microsoft.com/office/powerpoint/2010/main" val="27645713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7DD0EB-BD28-4BAD-96AB-429B7B2DF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5842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Week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2370C6-D573-4188-9C44-B846275A03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9208" y="1667245"/>
            <a:ext cx="8832134" cy="3851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246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4707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Hou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8822780-82D7-4DE7-94D9-5A79CE809A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6414" y="1833768"/>
            <a:ext cx="9299743" cy="366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6696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56984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Crimes </a:t>
            </a:r>
            <a:r>
              <a:rPr lang="da-DK" sz="4000" dirty="0" err="1"/>
              <a:t>across</a:t>
            </a:r>
            <a:r>
              <a:rPr lang="da-DK" sz="4000" dirty="0"/>
              <a:t> </a:t>
            </a:r>
            <a:r>
              <a:rPr lang="da-DK" sz="4000" dirty="0" err="1"/>
              <a:t>districts</a:t>
            </a:r>
            <a:endParaRPr lang="da-DK" sz="4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98806" y="54653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7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71EFE0-58F7-4366-803B-C6845D710AE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901"/>
          <a:stretch/>
        </p:blipFill>
        <p:spPr>
          <a:xfrm>
            <a:off x="1431320" y="1658805"/>
            <a:ext cx="8940590" cy="391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556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42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E5CFFCF1-006F-43B1-A5E5-E19B0689AD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3015" y="1517303"/>
            <a:ext cx="6337910" cy="443817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519488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apping</a:t>
            </a:r>
            <a:r>
              <a:rPr lang="da-DK" sz="4000" dirty="0"/>
              <a:t> of </a:t>
            </a:r>
            <a:r>
              <a:rPr lang="da-DK" sz="4000" dirty="0" err="1"/>
              <a:t>some</a:t>
            </a:r>
            <a:r>
              <a:rPr lang="da-DK" sz="4000" dirty="0"/>
              <a:t> </a:t>
            </a:r>
            <a:r>
              <a:rPr lang="da-DK" sz="4000" dirty="0" err="1"/>
              <a:t>crimes</a:t>
            </a:r>
            <a:endParaRPr lang="da-DK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EFDCE74-AFDF-4859-9647-DA32210244F0}"/>
              </a:ext>
            </a:extLst>
          </p:cNvPr>
          <p:cNvSpPr/>
          <p:nvPr/>
        </p:nvSpPr>
        <p:spPr>
          <a:xfrm>
            <a:off x="8143338" y="1753931"/>
            <a:ext cx="79478" cy="80544"/>
          </a:xfrm>
          <a:prstGeom prst="ellipse">
            <a:avLst/>
          </a:prstGeom>
          <a:solidFill>
            <a:srgbClr val="1919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7A5CB36-7388-4FAB-8C0A-417EB656CF03}"/>
              </a:ext>
            </a:extLst>
          </p:cNvPr>
          <p:cNvSpPr/>
          <p:nvPr/>
        </p:nvSpPr>
        <p:spPr>
          <a:xfrm>
            <a:off x="8143338" y="2102839"/>
            <a:ext cx="83976" cy="80544"/>
          </a:xfrm>
          <a:prstGeom prst="ellipse">
            <a:avLst/>
          </a:prstGeom>
          <a:solidFill>
            <a:srgbClr val="BA2D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ACCC8D-F2E3-4B11-9A9B-9E72AB4BE9DE}"/>
              </a:ext>
            </a:extLst>
          </p:cNvPr>
          <p:cNvSpPr txBox="1"/>
          <p:nvPr/>
        </p:nvSpPr>
        <p:spPr>
          <a:xfrm>
            <a:off x="8227315" y="1667245"/>
            <a:ext cx="7557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dirty="0" err="1"/>
              <a:t>vandalism</a:t>
            </a:r>
            <a:endParaRPr lang="da-DK" sz="105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DDF9CB-98E3-4BA1-98C7-43E6E37D7FDD}"/>
              </a:ext>
            </a:extLst>
          </p:cNvPr>
          <p:cNvSpPr txBox="1"/>
          <p:nvPr/>
        </p:nvSpPr>
        <p:spPr>
          <a:xfrm>
            <a:off x="8244420" y="2016153"/>
            <a:ext cx="10056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dirty="0"/>
              <a:t>drug/</a:t>
            </a:r>
            <a:r>
              <a:rPr lang="da-DK" sz="1050" dirty="0" err="1"/>
              <a:t>narcotic</a:t>
            </a:r>
            <a:endParaRPr lang="da-DK" sz="105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6770820" y="562934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5</a:t>
            </a:r>
          </a:p>
        </p:txBody>
      </p:sp>
    </p:spTree>
    <p:extLst>
      <p:ext uri="{BB962C8B-B14F-4D97-AF65-F5344CB8AC3E}">
        <p14:creationId xmlns:p14="http://schemas.microsoft.com/office/powerpoint/2010/main" val="28608562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7989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Spread</a:t>
            </a:r>
            <a:r>
              <a:rPr lang="da-DK" sz="4000" dirty="0"/>
              <a:t> of </a:t>
            </a:r>
            <a:r>
              <a:rPr lang="da-DK" sz="4000" dirty="0" err="1"/>
              <a:t>coordinates</a:t>
            </a:r>
            <a:endParaRPr lang="da-DK" sz="4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41915" y="56477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5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1D8A6BF-D940-4C29-A091-C50D0FEFBE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3532" y="1529958"/>
            <a:ext cx="7216765" cy="459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0154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147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4 MODELL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786BB7-0C53-442B-9A5B-522A1CE29F2D}"/>
              </a:ext>
            </a:extLst>
          </p:cNvPr>
          <p:cNvSpPr txBox="1"/>
          <p:nvPr/>
        </p:nvSpPr>
        <p:spPr>
          <a:xfrm>
            <a:off x="684158" y="3627054"/>
            <a:ext cx="36687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Crime </a:t>
            </a:r>
            <a:r>
              <a:rPr lang="da-DK" sz="2000" dirty="0" err="1"/>
              <a:t>category</a:t>
            </a:r>
            <a:r>
              <a:rPr lang="da-DK" sz="2000" dirty="0"/>
              <a:t> </a:t>
            </a:r>
            <a:r>
              <a:rPr lang="da-DK" sz="2000" dirty="0" err="1"/>
              <a:t>classification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7359585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58C7A-C527-48E1-8C53-4BDAB8868AD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9870D7-1CAC-499E-BEEB-ED169B269B67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9501DF-347D-4BC7-90FD-2FA0C0E9412C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2982D5-4843-43F7-A9E8-04E4616157B9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609185" y="330830"/>
            <a:ext cx="1017220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Predict</a:t>
            </a:r>
            <a:r>
              <a:rPr lang="da-DK" sz="4000" dirty="0"/>
              <a:t> type of </a:t>
            </a:r>
            <a:r>
              <a:rPr lang="da-DK" sz="4000" dirty="0" err="1"/>
              <a:t>crime</a:t>
            </a:r>
            <a:r>
              <a:rPr lang="da-DK" sz="4000" dirty="0"/>
              <a:t> </a:t>
            </a:r>
            <a:r>
              <a:rPr lang="da-DK" sz="4000" dirty="0" err="1"/>
              <a:t>based</a:t>
            </a:r>
            <a:r>
              <a:rPr lang="da-DK" sz="4000" dirty="0"/>
              <a:t> on location and tim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CBF747-E455-4165-9C17-AE7BCC823FC1}"/>
              </a:ext>
            </a:extLst>
          </p:cNvPr>
          <p:cNvSpPr txBox="1"/>
          <p:nvPr/>
        </p:nvSpPr>
        <p:spPr>
          <a:xfrm>
            <a:off x="1749182" y="2428001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istrict</a:t>
            </a:r>
            <a:endParaRPr lang="da-DK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2A308DB-3408-4151-B0B5-BE95FC606277}"/>
              </a:ext>
            </a:extLst>
          </p:cNvPr>
          <p:cNvSpPr txBox="1"/>
          <p:nvPr/>
        </p:nvSpPr>
        <p:spPr>
          <a:xfrm>
            <a:off x="2669927" y="2994968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titude </a:t>
            </a:r>
            <a:endParaRPr lang="da-DK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899863-2741-439C-B4C1-3ACC9C4C34D7}"/>
              </a:ext>
            </a:extLst>
          </p:cNvPr>
          <p:cNvSpPr txBox="1"/>
          <p:nvPr/>
        </p:nvSpPr>
        <p:spPr>
          <a:xfrm>
            <a:off x="3550498" y="2391069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ngitude</a:t>
            </a:r>
            <a:endParaRPr lang="da-DK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084DB5-514D-49A0-9CCC-46664D5E09A2}"/>
              </a:ext>
            </a:extLst>
          </p:cNvPr>
          <p:cNvSpPr txBox="1"/>
          <p:nvPr/>
        </p:nvSpPr>
        <p:spPr>
          <a:xfrm>
            <a:off x="1900833" y="424935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nth</a:t>
            </a:r>
            <a:endParaRPr lang="da-DK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2DA78EC-E1FE-4462-9E53-3519D03385DD}"/>
              </a:ext>
            </a:extLst>
          </p:cNvPr>
          <p:cNvSpPr txBox="1"/>
          <p:nvPr/>
        </p:nvSpPr>
        <p:spPr>
          <a:xfrm>
            <a:off x="3665642" y="4617670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ekday</a:t>
            </a:r>
            <a:endParaRPr lang="da-DK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188D51F-F3D1-4698-ACAD-EEE1352D4B64}"/>
              </a:ext>
            </a:extLst>
          </p:cNvPr>
          <p:cNvSpPr txBox="1"/>
          <p:nvPr/>
        </p:nvSpPr>
        <p:spPr>
          <a:xfrm>
            <a:off x="2238815" y="5237999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ur of day</a:t>
            </a:r>
            <a:endParaRPr lang="da-DK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A17459F-474C-408B-85D7-7EFC0759A661}"/>
              </a:ext>
            </a:extLst>
          </p:cNvPr>
          <p:cNvSpPr/>
          <p:nvPr/>
        </p:nvSpPr>
        <p:spPr>
          <a:xfrm>
            <a:off x="1509956" y="1935185"/>
            <a:ext cx="3346258" cy="172429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08692EF-7504-446C-97F7-EAD9B24F4747}"/>
              </a:ext>
            </a:extLst>
          </p:cNvPr>
          <p:cNvSpPr/>
          <p:nvPr/>
        </p:nvSpPr>
        <p:spPr>
          <a:xfrm>
            <a:off x="1456272" y="3864498"/>
            <a:ext cx="3346258" cy="203000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F6FB419-77FB-4AE2-ABDE-62127EF0D3FA}"/>
              </a:ext>
            </a:extLst>
          </p:cNvPr>
          <p:cNvSpPr txBox="1"/>
          <p:nvPr/>
        </p:nvSpPr>
        <p:spPr>
          <a:xfrm>
            <a:off x="2731348" y="1202972"/>
            <a:ext cx="2657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Featur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77E2EF5-8BD2-4AA7-9C21-209087FD0C68}"/>
              </a:ext>
            </a:extLst>
          </p:cNvPr>
          <p:cNvSpPr txBox="1"/>
          <p:nvPr/>
        </p:nvSpPr>
        <p:spPr>
          <a:xfrm>
            <a:off x="8131914" y="1214068"/>
            <a:ext cx="2657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Classes</a:t>
            </a:r>
          </a:p>
        </p:txBody>
      </p:sp>
      <p:pic>
        <p:nvPicPr>
          <p:cNvPr id="38" name="Picture 7" descr="Arrive On Time Clipart - Full Size Clipart (#2238073) - PinClipart">
            <a:extLst>
              <a:ext uri="{FF2B5EF4-FFF2-40B4-BE49-F238E27FC236}">
                <a16:creationId xmlns:a16="http://schemas.microsoft.com/office/drawing/2014/main" id="{E9D3313F-E0E1-4A2E-B92F-0F21C3CFC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83" y="4574037"/>
            <a:ext cx="463455" cy="46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5FD253E2-6F3B-42B0-8ECC-9E25A70716F2}"/>
              </a:ext>
            </a:extLst>
          </p:cNvPr>
          <p:cNvSpPr txBox="1"/>
          <p:nvPr/>
        </p:nvSpPr>
        <p:spPr>
          <a:xfrm>
            <a:off x="7823484" y="2888125"/>
            <a:ext cx="2467683" cy="527837"/>
          </a:xfrm>
          <a:prstGeom prst="rect">
            <a:avLst/>
          </a:prstGeom>
          <a:solidFill>
            <a:srgbClr val="FFC4BD"/>
          </a:solidFill>
        </p:spPr>
        <p:txBody>
          <a:bodyPr wrap="square" rtlCol="0">
            <a:sp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spc="160" dirty="0">
                <a:latin typeface="Tw Cen MT" panose="020B0602020104020603" pitchFamily="34" charset="77"/>
              </a:rPr>
              <a:t>VANDALISM</a:t>
            </a:r>
            <a:endParaRPr lang="en-US" sz="1400" kern="1200" spc="160" dirty="0">
              <a:latin typeface="Tw Cen MT" panose="020B0602020104020603" pitchFamily="34" charset="77"/>
            </a:endParaRPr>
          </a:p>
          <a:p>
            <a:pPr marL="0" lvl="1" algn="ctr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spc="140" dirty="0">
                <a:latin typeface="Tw Cen MT" panose="020B0602020104020603" pitchFamily="34" charset="77"/>
              </a:rPr>
              <a:t>11470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A564B02-0C18-487A-AF46-F33426217244}"/>
              </a:ext>
            </a:extLst>
          </p:cNvPr>
          <p:cNvSpPr txBox="1"/>
          <p:nvPr/>
        </p:nvSpPr>
        <p:spPr>
          <a:xfrm>
            <a:off x="7823484" y="3842222"/>
            <a:ext cx="2467683" cy="527837"/>
          </a:xfrm>
          <a:prstGeom prst="rect">
            <a:avLst/>
          </a:prstGeom>
          <a:solidFill>
            <a:srgbClr val="FFC4BD"/>
          </a:solidFill>
        </p:spPr>
        <p:txBody>
          <a:bodyPr wrap="square" rtlCol="0">
            <a:sp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spc="160" dirty="0">
                <a:latin typeface="Tw Cen MT" panose="020B0602020104020603" pitchFamily="34" charset="77"/>
              </a:rPr>
              <a:t>DRUG/NARCOTICS</a:t>
            </a:r>
            <a:endParaRPr lang="en-US" sz="1400" kern="1200" spc="160" dirty="0">
              <a:latin typeface="Tw Cen MT" panose="020B0602020104020603" pitchFamily="34" charset="77"/>
            </a:endParaRPr>
          </a:p>
          <a:p>
            <a:pPr marL="0" lvl="1" algn="ctr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spc="140" dirty="0">
                <a:latin typeface="Tw Cen MT" panose="020B0602020104020603" pitchFamily="34" charset="77"/>
              </a:rPr>
              <a:t>117810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D48A5CA-92CD-4017-9EE1-257A6D13AA7E}"/>
              </a:ext>
            </a:extLst>
          </p:cNvPr>
          <p:cNvCxnSpPr>
            <a:cxnSpLocks/>
            <a:stCxn id="33" idx="6"/>
            <a:endCxn id="39" idx="1"/>
          </p:cNvCxnSpPr>
          <p:nvPr/>
        </p:nvCxnSpPr>
        <p:spPr>
          <a:xfrm>
            <a:off x="4856214" y="2797333"/>
            <a:ext cx="2967270" cy="35471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1329351-F907-4814-B7E5-3F955DA37795}"/>
              </a:ext>
            </a:extLst>
          </p:cNvPr>
          <p:cNvCxnSpPr>
            <a:cxnSpLocks/>
            <a:stCxn id="33" idx="6"/>
            <a:endCxn id="40" idx="1"/>
          </p:cNvCxnSpPr>
          <p:nvPr/>
        </p:nvCxnSpPr>
        <p:spPr>
          <a:xfrm>
            <a:off x="4856214" y="2797333"/>
            <a:ext cx="2967270" cy="130880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E4666C8-E741-41CF-ACF5-CB0EB6C5B9B1}"/>
              </a:ext>
            </a:extLst>
          </p:cNvPr>
          <p:cNvCxnSpPr>
            <a:cxnSpLocks/>
            <a:endCxn id="39" idx="1"/>
          </p:cNvCxnSpPr>
          <p:nvPr/>
        </p:nvCxnSpPr>
        <p:spPr>
          <a:xfrm flipV="1">
            <a:off x="4818896" y="3152044"/>
            <a:ext cx="3004588" cy="171329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19667FE-6FFD-45E6-BB5D-E1CC062E9FD0}"/>
              </a:ext>
            </a:extLst>
          </p:cNvPr>
          <p:cNvCxnSpPr>
            <a:cxnSpLocks/>
            <a:stCxn id="34" idx="6"/>
            <a:endCxn id="40" idx="1"/>
          </p:cNvCxnSpPr>
          <p:nvPr/>
        </p:nvCxnSpPr>
        <p:spPr>
          <a:xfrm flipV="1">
            <a:off x="4802530" y="4106141"/>
            <a:ext cx="3020954" cy="77336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340E5E31-EBA7-4CA1-947D-4C4E2F3DE990}"/>
              </a:ext>
            </a:extLst>
          </p:cNvPr>
          <p:cNvSpPr txBox="1"/>
          <p:nvPr/>
        </p:nvSpPr>
        <p:spPr>
          <a:xfrm>
            <a:off x="6546991" y="3301687"/>
            <a:ext cx="6421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4400" b="1" dirty="0"/>
              <a:t>?</a:t>
            </a:r>
          </a:p>
        </p:txBody>
      </p:sp>
      <p:pic>
        <p:nvPicPr>
          <p:cNvPr id="5" name="Graphic 4" descr="Marker with solid fill">
            <a:extLst>
              <a:ext uri="{FF2B5EF4-FFF2-40B4-BE49-F238E27FC236}">
                <a16:creationId xmlns:a16="http://schemas.microsoft.com/office/drawing/2014/main" id="{A12FA880-6290-4B45-88B6-E547643E9F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91420" y="2240338"/>
            <a:ext cx="652121" cy="652121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53DF8EC-12D1-4EF8-BA42-A387BC1B5D63}"/>
              </a:ext>
            </a:extLst>
          </p:cNvPr>
          <p:cNvSpPr txBox="1"/>
          <p:nvPr/>
        </p:nvSpPr>
        <p:spPr>
          <a:xfrm>
            <a:off x="6291294" y="2513188"/>
            <a:ext cx="17102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 dirty="0" err="1"/>
              <a:t>Random</a:t>
            </a:r>
            <a:r>
              <a:rPr lang="da-DK" sz="1200" i="1" dirty="0"/>
              <a:t> Forest (RF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6752542-6A33-4410-B94E-A1B87516F831}"/>
              </a:ext>
            </a:extLst>
          </p:cNvPr>
          <p:cNvSpPr txBox="1"/>
          <p:nvPr/>
        </p:nvSpPr>
        <p:spPr>
          <a:xfrm>
            <a:off x="6039924" y="4558887"/>
            <a:ext cx="19766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 dirty="0"/>
              <a:t>K-nearest </a:t>
            </a:r>
            <a:r>
              <a:rPr lang="da-DK" sz="1200" i="1" dirty="0" err="1"/>
              <a:t>neighbors</a:t>
            </a:r>
            <a:r>
              <a:rPr lang="da-DK" sz="1200" i="1" dirty="0"/>
              <a:t> (KNN)</a:t>
            </a:r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220354F3-42C3-4FE2-ADE0-5B80E185B6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1070" b="20581"/>
          <a:stretch/>
        </p:blipFill>
        <p:spPr bwMode="auto">
          <a:xfrm>
            <a:off x="6330598" y="1518157"/>
            <a:ext cx="1095561" cy="1059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k-nearest neighbors algorithm - Wikipedia">
            <a:extLst>
              <a:ext uri="{FF2B5EF4-FFF2-40B4-BE49-F238E27FC236}">
                <a16:creationId xmlns:a16="http://schemas.microsoft.com/office/drawing/2014/main" id="{B0F21C53-1289-4723-9989-7D16102ADB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190" y="4874875"/>
            <a:ext cx="1258691" cy="1138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DDF7CE-81FE-4301-9048-A76C2E001D77}"/>
              </a:ext>
            </a:extLst>
          </p:cNvPr>
          <p:cNvCxnSpPr>
            <a:cxnSpLocks/>
          </p:cNvCxnSpPr>
          <p:nvPr/>
        </p:nvCxnSpPr>
        <p:spPr>
          <a:xfrm flipV="1">
            <a:off x="6847278" y="2791049"/>
            <a:ext cx="0" cy="6249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3D76B68-3961-49CB-806E-30A895440727}"/>
              </a:ext>
            </a:extLst>
          </p:cNvPr>
          <p:cNvCxnSpPr>
            <a:cxnSpLocks/>
          </p:cNvCxnSpPr>
          <p:nvPr/>
        </p:nvCxnSpPr>
        <p:spPr>
          <a:xfrm flipV="1">
            <a:off x="6868061" y="3944251"/>
            <a:ext cx="0" cy="5485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6611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4717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5 EVALU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4B1DEC-01E3-564E-AB68-042280548E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/>
          <a:p>
            <a:fld id="{F4FADF4D-E5B4-7A4C-B9D2-B49D7EE22714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03702-AE9F-514C-8035-3C03A5CAD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786BB7-0C53-442B-9A5B-522A1CE29F2D}"/>
              </a:ext>
            </a:extLst>
          </p:cNvPr>
          <p:cNvSpPr txBox="1"/>
          <p:nvPr/>
        </p:nvSpPr>
        <p:spPr>
          <a:xfrm>
            <a:off x="684158" y="3627054"/>
            <a:ext cx="36687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Performance scores</a:t>
            </a:r>
          </a:p>
        </p:txBody>
      </p:sp>
    </p:spTree>
    <p:extLst>
      <p:ext uri="{BB962C8B-B14F-4D97-AF65-F5344CB8AC3E}">
        <p14:creationId xmlns:p14="http://schemas.microsoft.com/office/powerpoint/2010/main" val="16599160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C72028-1D7C-4066-8E87-C465548E4F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486D74-B37B-F546-968B-4AC3E7616DD3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80264B2D-A6B8-4677-8F80-9B17ED55A355}"/>
              </a:ext>
            </a:extLst>
          </p:cNvPr>
          <p:cNvSpPr txBox="1">
            <a:spLocks/>
          </p:cNvSpPr>
          <p:nvPr/>
        </p:nvSpPr>
        <p:spPr>
          <a:xfrm>
            <a:off x="381000" y="6356350"/>
            <a:ext cx="17308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FADF4D-E5B4-7A4C-B9D2-B49D7EE22714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58C7A-C527-48E1-8C53-4BDAB8868AD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9870D7-1CAC-499E-BEEB-ED169B269B67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9501DF-347D-4BC7-90FD-2FA0C0E9412C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rgbClr val="FFC4BD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2982D5-4843-43F7-A9E8-04E4616157B9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572645" y="382816"/>
            <a:ext cx="488838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Performance of model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BB2FE56-2F8B-4CCF-B269-88CDA69EF0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6480" y="2089064"/>
            <a:ext cx="6990498" cy="3447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0086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4B1DEC-01E3-564E-AB68-042280548E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/>
          <a:p>
            <a:fld id="{F4FADF4D-E5B4-7A4C-B9D2-B49D7EE22714}" type="datetime1">
              <a:rPr lang="en-US" smtClean="0"/>
              <a:pPr/>
              <a:t>2/1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03702-AE9F-514C-8035-3C03A5CAD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AE4038-4E1A-4260-92A8-9F7765409173}"/>
              </a:ext>
            </a:extLst>
          </p:cNvPr>
          <p:cNvSpPr txBox="1"/>
          <p:nvPr/>
        </p:nvSpPr>
        <p:spPr>
          <a:xfrm>
            <a:off x="960438" y="606642"/>
            <a:ext cx="18473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 sz="4000" dirty="0"/>
          </a:p>
          <a:p>
            <a:endParaRPr lang="da-DK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468CE3-3390-470D-A2F3-6E79701752A4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C95E2E-7501-429C-B46F-7EEDA007F98C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790C6E-9A39-48AA-8D07-698A9FB7B1AB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5066CC-42B1-4C09-B0D2-9C1245186AF4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0DC94C-722D-4052-BD1A-F42C38812D99}"/>
              </a:ext>
            </a:extLst>
          </p:cNvPr>
          <p:cNvSpPr txBox="1"/>
          <p:nvPr/>
        </p:nvSpPr>
        <p:spPr>
          <a:xfrm>
            <a:off x="572645" y="382816"/>
            <a:ext cx="41065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Potential </a:t>
            </a:r>
            <a:r>
              <a:rPr lang="da-DK" sz="4000" dirty="0" err="1"/>
              <a:t>next</a:t>
            </a:r>
            <a:r>
              <a:rPr lang="da-DK" sz="4000" dirty="0"/>
              <a:t> ste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99FE911-0114-49FA-A80B-6BA57A4B8CD9}"/>
              </a:ext>
            </a:extLst>
          </p:cNvPr>
          <p:cNvSpPr txBox="1"/>
          <p:nvPr/>
        </p:nvSpPr>
        <p:spPr>
          <a:xfrm>
            <a:off x="775062" y="1402080"/>
            <a:ext cx="8281853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 err="1"/>
              <a:t>Map</a:t>
            </a:r>
            <a:r>
              <a:rPr lang="da-DK" sz="2000" dirty="0"/>
              <a:t> </a:t>
            </a:r>
            <a:r>
              <a:rPr lang="da-DK" sz="2000" dirty="0" err="1"/>
              <a:t>coordinates</a:t>
            </a:r>
            <a:r>
              <a:rPr lang="da-DK" sz="2000" dirty="0"/>
              <a:t> to more </a:t>
            </a:r>
            <a:r>
              <a:rPr lang="da-DK" sz="2000" dirty="0" err="1"/>
              <a:t>districts</a:t>
            </a:r>
            <a:r>
              <a:rPr lang="da-DK" sz="2000" dirty="0"/>
              <a:t> to </a:t>
            </a:r>
            <a:r>
              <a:rPr lang="da-DK" sz="2000" dirty="0" err="1"/>
              <a:t>avoid</a:t>
            </a:r>
            <a:r>
              <a:rPr lang="da-DK" sz="2000" dirty="0"/>
              <a:t> ‘</a:t>
            </a:r>
            <a:r>
              <a:rPr lang="da-DK" sz="2000" dirty="0" err="1"/>
              <a:t>unknown</a:t>
            </a:r>
            <a:r>
              <a:rPr lang="da-DK" sz="2000" dirty="0"/>
              <a:t>’</a:t>
            </a:r>
          </a:p>
          <a:p>
            <a:endParaRPr lang="da-DK" sz="2000" dirty="0"/>
          </a:p>
          <a:p>
            <a:r>
              <a:rPr lang="da-DK" sz="2000" dirty="0" err="1"/>
              <a:t>Improve</a:t>
            </a:r>
            <a:r>
              <a:rPr lang="da-DK" sz="2000" dirty="0"/>
              <a:t> model performance by </a:t>
            </a:r>
            <a:r>
              <a:rPr lang="da-DK" sz="2000" dirty="0" err="1"/>
              <a:t>e.g</a:t>
            </a:r>
            <a:endParaRPr lang="da-DK" sz="2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/>
              <a:t>Cross </a:t>
            </a:r>
            <a:r>
              <a:rPr lang="da-DK" sz="2000" dirty="0" err="1"/>
              <a:t>validation</a:t>
            </a:r>
            <a:endParaRPr lang="da-DK" sz="2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Hyperparameter</a:t>
            </a:r>
            <a:r>
              <a:rPr lang="da-DK" sz="2000" dirty="0"/>
              <a:t> tu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Adding</a:t>
            </a:r>
            <a:r>
              <a:rPr lang="da-DK" sz="2000" dirty="0"/>
              <a:t> more features (</a:t>
            </a:r>
            <a:r>
              <a:rPr lang="da-DK" sz="2000" dirty="0" err="1"/>
              <a:t>e.g</a:t>
            </a:r>
            <a:r>
              <a:rPr lang="da-DK" sz="2000" dirty="0"/>
              <a:t>. </a:t>
            </a:r>
            <a:r>
              <a:rPr lang="da-DK" sz="2000" dirty="0" err="1"/>
              <a:t>weather</a:t>
            </a:r>
            <a:r>
              <a:rPr lang="da-DK" sz="2000" dirty="0"/>
              <a:t> data, </a:t>
            </a:r>
            <a:r>
              <a:rPr lang="da-DK" sz="2000" dirty="0" err="1"/>
              <a:t>demographics</a:t>
            </a:r>
            <a:r>
              <a:rPr lang="da-DK" sz="2000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Removing</a:t>
            </a:r>
            <a:r>
              <a:rPr lang="da-DK" sz="2000" dirty="0"/>
              <a:t> features</a:t>
            </a:r>
          </a:p>
          <a:p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/>
              <a:t>Try </a:t>
            </a:r>
            <a:r>
              <a:rPr lang="da-DK" sz="2000" dirty="0" err="1"/>
              <a:t>other</a:t>
            </a:r>
            <a:r>
              <a:rPr lang="da-DK" sz="2000" dirty="0"/>
              <a:t> </a:t>
            </a:r>
            <a:r>
              <a:rPr lang="da-DK" sz="2000" dirty="0" err="1"/>
              <a:t>algorithms</a:t>
            </a:r>
            <a:endParaRPr lang="da-DK" sz="2000" dirty="0"/>
          </a:p>
          <a:p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22798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EA4E792E-236B-4989-8956-403B16B508F9}"/>
              </a:ext>
            </a:extLst>
          </p:cNvPr>
          <p:cNvSpPr txBox="1">
            <a:spLocks/>
          </p:cNvSpPr>
          <p:nvPr/>
        </p:nvSpPr>
        <p:spPr>
          <a:xfrm>
            <a:off x="699796" y="376700"/>
            <a:ext cx="8447439" cy="1074828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22860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300" baseline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tx1"/>
                </a:solidFill>
              </a:rPr>
              <a:t>DATA SCIENCE PIPELINE </a:t>
            </a:r>
            <a:r>
              <a:rPr lang="en-US" sz="3200" dirty="0"/>
              <a:t>PIPELIN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95B586A-77F9-4DE3-99C2-2471AF62B48B}"/>
              </a:ext>
            </a:extLst>
          </p:cNvPr>
          <p:cNvGrpSpPr/>
          <p:nvPr/>
        </p:nvGrpSpPr>
        <p:grpSpPr>
          <a:xfrm>
            <a:off x="699796" y="2048256"/>
            <a:ext cx="9884959" cy="3083581"/>
            <a:chOff x="1044375" y="2048256"/>
            <a:chExt cx="9540380" cy="38189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1A78135-604E-411E-9620-EC415C2C0787}"/>
                </a:ext>
              </a:extLst>
            </p:cNvPr>
            <p:cNvSpPr/>
            <p:nvPr/>
          </p:nvSpPr>
          <p:spPr>
            <a:xfrm>
              <a:off x="1044375" y="2048256"/>
              <a:ext cx="1480365" cy="3818931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OLLEC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Integration of different source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ED95871-835A-4065-95A2-E624C6F60B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25494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2646E29-D068-49A8-964A-D3C890D3C63E}"/>
                </a:ext>
              </a:extLst>
            </p:cNvPr>
            <p:cNvSpPr/>
            <p:nvPr/>
          </p:nvSpPr>
          <p:spPr>
            <a:xfrm>
              <a:off x="2652537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REPAR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leaning, missing values, anomalies, outliers and transformation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B7AC4F6-1573-46E3-94CA-31171CA0EF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33656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25D0572-1610-4130-8387-2DC7DFB01910}"/>
                </a:ext>
              </a:extLst>
            </p:cNvPr>
            <p:cNvSpPr/>
            <p:nvPr/>
          </p:nvSpPr>
          <p:spPr>
            <a:xfrm>
              <a:off x="4260699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XPLORA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atterns and trends across different dimensions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664A08-513C-484F-8617-A1D85EBEE3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41818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903DF1-B33E-4138-BDD3-6D3F44F5FF8B}"/>
                </a:ext>
              </a:extLst>
            </p:cNvPr>
            <p:cNvSpPr/>
            <p:nvPr/>
          </p:nvSpPr>
          <p:spPr>
            <a:xfrm>
              <a:off x="5868862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ODELLING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achine learning algorithm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8E3CB15-0D21-42FE-BE2F-AB8616057D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9980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4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F5EB621-84FA-4DA4-91B3-9B474B893AF8}"/>
                </a:ext>
              </a:extLst>
            </p:cNvPr>
            <p:cNvSpPr/>
            <p:nvPr/>
          </p:nvSpPr>
          <p:spPr>
            <a:xfrm>
              <a:off x="7477023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VALIDATION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valuation of performanc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384DCA5-04A4-4697-B9ED-4A167B4AC4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58142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B15D79-A7BF-425B-8814-491B9F3C2BE4}"/>
                </a:ext>
              </a:extLst>
            </p:cNvPr>
            <p:cNvSpPr/>
            <p:nvPr/>
          </p:nvSpPr>
          <p:spPr>
            <a:xfrm>
              <a:off x="9104390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DEPLOYMENT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 err="1">
                  <a:solidFill>
                    <a:schemeClr val="tx2"/>
                  </a:solidFill>
                  <a:latin typeface="Tw Cen MT" panose="020B0602020104020603" pitchFamily="34" charset="77"/>
                </a:rPr>
                <a:t>MLOps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 and </a:t>
              </a: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aintenanc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E92A8D-AC10-45A3-AE60-AE363E0C3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40411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6</a:t>
              </a:r>
            </a:p>
          </p:txBody>
        </p:sp>
      </p:grpSp>
      <p:sp>
        <p:nvSpPr>
          <p:cNvPr id="12" name="Arrow: Curved Down 11">
            <a:extLst>
              <a:ext uri="{FF2B5EF4-FFF2-40B4-BE49-F238E27FC236}">
                <a16:creationId xmlns:a16="http://schemas.microsoft.com/office/drawing/2014/main" id="{07EE5E97-BD43-41D5-97D9-C36BE31F2D9E}"/>
              </a:ext>
            </a:extLst>
          </p:cNvPr>
          <p:cNvSpPr/>
          <p:nvPr/>
        </p:nvSpPr>
        <p:spPr>
          <a:xfrm>
            <a:off x="4827223" y="1316736"/>
            <a:ext cx="3464904" cy="731520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44" name="Arrow: Curved Down 43">
            <a:extLst>
              <a:ext uri="{FF2B5EF4-FFF2-40B4-BE49-F238E27FC236}">
                <a16:creationId xmlns:a16="http://schemas.microsoft.com/office/drawing/2014/main" id="{141DA009-C27D-469F-9A1F-1DE415945FE6}"/>
              </a:ext>
            </a:extLst>
          </p:cNvPr>
          <p:cNvSpPr/>
          <p:nvPr/>
        </p:nvSpPr>
        <p:spPr>
          <a:xfrm rot="10800000">
            <a:off x="4667250" y="5131836"/>
            <a:ext cx="3624876" cy="811763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352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Close up of top of bridge">
            <a:extLst>
              <a:ext uri="{FF2B5EF4-FFF2-40B4-BE49-F238E27FC236}">
                <a16:creationId xmlns:a16="http://schemas.microsoft.com/office/drawing/2014/main" id="{0C02B839-BD0F-4E42-B905-966EFC6BBAD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167" r="167"/>
          <a:stretch/>
        </p:blipFill>
        <p:spPr>
          <a:xfrm>
            <a:off x="3686175" y="0"/>
            <a:ext cx="8505825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9FAE308-3076-43DB-B834-DA0B0AE19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683" y="879635"/>
            <a:ext cx="7659486" cy="1198178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103683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95B586A-77F9-4DE3-99C2-2471AF62B48B}"/>
              </a:ext>
            </a:extLst>
          </p:cNvPr>
          <p:cNvGrpSpPr/>
          <p:nvPr/>
        </p:nvGrpSpPr>
        <p:grpSpPr>
          <a:xfrm>
            <a:off x="699796" y="2048256"/>
            <a:ext cx="9884959" cy="3083581"/>
            <a:chOff x="1044375" y="2048256"/>
            <a:chExt cx="9540380" cy="38189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1A78135-604E-411E-9620-EC415C2C0787}"/>
                </a:ext>
              </a:extLst>
            </p:cNvPr>
            <p:cNvSpPr/>
            <p:nvPr/>
          </p:nvSpPr>
          <p:spPr>
            <a:xfrm>
              <a:off x="1044375" y="2048256"/>
              <a:ext cx="1480365" cy="381893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OLLEC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Integration of different source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ED95871-835A-4065-95A2-E624C6F60B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25494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2646E29-D068-49A8-964A-D3C890D3C63E}"/>
                </a:ext>
              </a:extLst>
            </p:cNvPr>
            <p:cNvSpPr/>
            <p:nvPr/>
          </p:nvSpPr>
          <p:spPr>
            <a:xfrm>
              <a:off x="2652537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REPAR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leaning, missing values, anomalies, outliers and transformation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B7AC4F6-1573-46E3-94CA-31171CA0EF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33656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25D0572-1610-4130-8387-2DC7DFB01910}"/>
                </a:ext>
              </a:extLst>
            </p:cNvPr>
            <p:cNvSpPr/>
            <p:nvPr/>
          </p:nvSpPr>
          <p:spPr>
            <a:xfrm>
              <a:off x="4260699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XPLORA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atterns and trends across different dimensions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664A08-513C-484F-8617-A1D85EBEE3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41818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903DF1-B33E-4138-BDD3-6D3F44F5FF8B}"/>
                </a:ext>
              </a:extLst>
            </p:cNvPr>
            <p:cNvSpPr/>
            <p:nvPr/>
          </p:nvSpPr>
          <p:spPr>
            <a:xfrm>
              <a:off x="5868862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ODELLING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achine learning algorithm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8E3CB15-0D21-42FE-BE2F-AB8616057D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9980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4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F5EB621-84FA-4DA4-91B3-9B474B893AF8}"/>
                </a:ext>
              </a:extLst>
            </p:cNvPr>
            <p:cNvSpPr/>
            <p:nvPr/>
          </p:nvSpPr>
          <p:spPr>
            <a:xfrm>
              <a:off x="7477023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VALIDATION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valuation of performanc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384DCA5-04A4-4697-B9ED-4A167B4AC4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58142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B15D79-A7BF-425B-8814-491B9F3C2BE4}"/>
                </a:ext>
              </a:extLst>
            </p:cNvPr>
            <p:cNvSpPr/>
            <p:nvPr/>
          </p:nvSpPr>
          <p:spPr>
            <a:xfrm>
              <a:off x="9104390" y="2048256"/>
              <a:ext cx="1480365" cy="381893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DEPLOYMENT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 err="1">
                  <a:solidFill>
                    <a:schemeClr val="tx2"/>
                  </a:solidFill>
                  <a:latin typeface="Tw Cen MT" panose="020B0602020104020603" pitchFamily="34" charset="77"/>
                </a:rPr>
                <a:t>MLOps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 and maintenanc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E92A8D-AC10-45A3-AE60-AE363E0C3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40411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6</a:t>
              </a:r>
            </a:p>
          </p:txBody>
        </p:sp>
      </p:grpSp>
      <p:sp>
        <p:nvSpPr>
          <p:cNvPr id="44" name="Arrow: Curved Down 43">
            <a:extLst>
              <a:ext uri="{FF2B5EF4-FFF2-40B4-BE49-F238E27FC236}">
                <a16:creationId xmlns:a16="http://schemas.microsoft.com/office/drawing/2014/main" id="{61F894DC-87DD-4CB6-B29E-59B9299774E9}"/>
              </a:ext>
            </a:extLst>
          </p:cNvPr>
          <p:cNvSpPr/>
          <p:nvPr/>
        </p:nvSpPr>
        <p:spPr>
          <a:xfrm>
            <a:off x="4827223" y="1316736"/>
            <a:ext cx="3464904" cy="731520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45" name="Arrow: Curved Down 44">
            <a:extLst>
              <a:ext uri="{FF2B5EF4-FFF2-40B4-BE49-F238E27FC236}">
                <a16:creationId xmlns:a16="http://schemas.microsoft.com/office/drawing/2014/main" id="{2EA26D15-D314-4D95-A5FF-309602CB9205}"/>
              </a:ext>
            </a:extLst>
          </p:cNvPr>
          <p:cNvSpPr/>
          <p:nvPr/>
        </p:nvSpPr>
        <p:spPr>
          <a:xfrm rot="10800000">
            <a:off x="4667250" y="5131836"/>
            <a:ext cx="3624876" cy="811763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396F7FB-16C5-460A-8066-D299A70291C3}"/>
              </a:ext>
            </a:extLst>
          </p:cNvPr>
          <p:cNvSpPr txBox="1">
            <a:spLocks/>
          </p:cNvSpPr>
          <p:nvPr/>
        </p:nvSpPr>
        <p:spPr>
          <a:xfrm>
            <a:off x="699796" y="376700"/>
            <a:ext cx="8447439" cy="1074828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22860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300" baseline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tx1"/>
                </a:solidFill>
              </a:rPr>
              <a:t>DATA SCIENCE PIPELINE </a:t>
            </a:r>
            <a:r>
              <a:rPr lang="en-US" sz="3200" dirty="0"/>
              <a:t>PIPELINE</a:t>
            </a:r>
          </a:p>
        </p:txBody>
      </p:sp>
    </p:spTree>
    <p:extLst>
      <p:ext uri="{BB962C8B-B14F-4D97-AF65-F5344CB8AC3E}">
        <p14:creationId xmlns:p14="http://schemas.microsoft.com/office/powerpoint/2010/main" val="2646183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46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2 Prepa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4540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704490" y="584003"/>
            <a:ext cx="493596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Overview and </a:t>
            </a:r>
            <a:r>
              <a:rPr lang="da-DK" sz="4000" dirty="0" err="1"/>
              <a:t>cleaning</a:t>
            </a:r>
            <a:endParaRPr lang="da-DK" sz="4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250190-2700-42B7-ACE3-F17456E8D8FF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603AAF-A7ED-4CB8-9D0A-FEE66B9E133F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9C6543-1906-427D-B16F-105C6CFC53F4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7A28D8-11F6-4287-A70A-1F0872AE94EE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B7F90D2-F7ED-47F7-834A-E4B1B5B9362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111" r="309" b="3007"/>
          <a:stretch/>
        </p:blipFill>
        <p:spPr>
          <a:xfrm>
            <a:off x="723387" y="3697230"/>
            <a:ext cx="5864026" cy="193734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CAB2CD5-2CB3-4A0C-8A8B-26FE82F1C945}"/>
              </a:ext>
            </a:extLst>
          </p:cNvPr>
          <p:cNvSpPr txBox="1"/>
          <p:nvPr/>
        </p:nvSpPr>
        <p:spPr>
          <a:xfrm>
            <a:off x="723387" y="1650579"/>
            <a:ext cx="379263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 err="1"/>
              <a:t>Rows</a:t>
            </a:r>
            <a:r>
              <a:rPr lang="da-DK" sz="1600" dirty="0"/>
              <a:t>: 2129216 </a:t>
            </a:r>
          </a:p>
          <a:p>
            <a:r>
              <a:rPr lang="da-DK" sz="1600" dirty="0"/>
              <a:t>Columns: 11</a:t>
            </a:r>
          </a:p>
          <a:p>
            <a:endParaRPr lang="da-DK" sz="1600" dirty="0"/>
          </a:p>
          <a:p>
            <a:r>
              <a:rPr lang="da-DK" sz="1600" dirty="0"/>
              <a:t>Time range:  2003/01/01 -2018/05/15</a:t>
            </a:r>
          </a:p>
          <a:p>
            <a:endParaRPr lang="da-DK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DCFA240-E843-487D-8727-792FD7F78783}"/>
              </a:ext>
            </a:extLst>
          </p:cNvPr>
          <p:cNvSpPr txBox="1"/>
          <p:nvPr/>
        </p:nvSpPr>
        <p:spPr>
          <a:xfrm>
            <a:off x="625825" y="3259723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i="1" dirty="0"/>
              <a:t> Import and </a:t>
            </a:r>
            <a:r>
              <a:rPr lang="da-DK" sz="1400" i="1" dirty="0" err="1"/>
              <a:t>merge</a:t>
            </a:r>
            <a:r>
              <a:rPr lang="da-DK" sz="1400" i="1" dirty="0"/>
              <a:t> dat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69F0F4-3BBD-4D6E-9C7D-2F61DE6F6D3C}"/>
              </a:ext>
            </a:extLst>
          </p:cNvPr>
          <p:cNvSpPr txBox="1"/>
          <p:nvPr/>
        </p:nvSpPr>
        <p:spPr>
          <a:xfrm>
            <a:off x="7035979" y="465164"/>
            <a:ext cx="3668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Check for and replace missing values</a:t>
            </a:r>
          </a:p>
          <a:p>
            <a:r>
              <a:rPr lang="en-US" sz="1400" i="1" dirty="0"/>
              <a:t>Transform time variabl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7E6F592-F67F-4C9C-BCF6-8374AE0CD0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23108" y="4372775"/>
            <a:ext cx="1464653" cy="81894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00BC2FF-55BA-4ADB-B313-9EF9C8E79E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34564" y="4599587"/>
            <a:ext cx="1508560" cy="966524"/>
          </a:xfrm>
          <a:prstGeom prst="rect">
            <a:avLst/>
          </a:prstGeom>
        </p:spPr>
      </p:pic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C027D368-57BC-4228-9F19-A7E75365F1FB}"/>
              </a:ext>
            </a:extLst>
          </p:cNvPr>
          <p:cNvCxnSpPr>
            <a:cxnSpLocks/>
            <a:stCxn id="17" idx="3"/>
            <a:endCxn id="35" idx="1"/>
          </p:cNvCxnSpPr>
          <p:nvPr/>
        </p:nvCxnSpPr>
        <p:spPr>
          <a:xfrm>
            <a:off x="8487761" y="4782248"/>
            <a:ext cx="546803" cy="30060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308B44A3-D373-42FB-967B-41D4FB647136}"/>
              </a:ext>
            </a:extLst>
          </p:cNvPr>
          <p:cNvSpPr txBox="1"/>
          <p:nvPr/>
        </p:nvSpPr>
        <p:spPr>
          <a:xfrm>
            <a:off x="7023108" y="3868329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Add time variables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A86D7BB1-BB29-4C65-97C6-491ACCCA95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21447" y="1073332"/>
            <a:ext cx="3536863" cy="268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564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788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3 EXPL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2E3C6E-B0A8-4D86-9BCB-A6E027626839}"/>
              </a:ext>
            </a:extLst>
          </p:cNvPr>
          <p:cNvSpPr txBox="1"/>
          <p:nvPr/>
        </p:nvSpPr>
        <p:spPr>
          <a:xfrm>
            <a:off x="684158" y="3627054"/>
            <a:ext cx="4289058" cy="469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dirty="0"/>
              <a:t>Trends </a:t>
            </a:r>
            <a:r>
              <a:rPr lang="da-DK" sz="2400" dirty="0" err="1"/>
              <a:t>across</a:t>
            </a:r>
            <a:r>
              <a:rPr lang="da-DK" sz="2400" dirty="0"/>
              <a:t> time and </a:t>
            </a:r>
            <a:r>
              <a:rPr lang="da-DK" sz="2400" dirty="0" err="1"/>
              <a:t>space</a:t>
            </a:r>
            <a:endParaRPr lang="da-DK" sz="2400" dirty="0"/>
          </a:p>
        </p:txBody>
      </p:sp>
    </p:spTree>
    <p:extLst>
      <p:ext uri="{BB962C8B-B14F-4D97-AF65-F5344CB8AC3E}">
        <p14:creationId xmlns:p14="http://schemas.microsoft.com/office/powerpoint/2010/main" val="1524755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01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C5198E-9CA9-4931-ADC8-6DA1C719139A}"/>
              </a:ext>
            </a:extLst>
          </p:cNvPr>
          <p:cNvSpPr txBox="1"/>
          <p:nvPr/>
        </p:nvSpPr>
        <p:spPr>
          <a:xfrm>
            <a:off x="560659" y="373902"/>
            <a:ext cx="61965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Overall distribution of </a:t>
            </a:r>
            <a:r>
              <a:rPr lang="da-DK" sz="4000" dirty="0" err="1"/>
              <a:t>crimes</a:t>
            </a:r>
            <a:endParaRPr lang="da-DK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79F0AAEE-1027-4125-8332-D5301379D17C}"/>
              </a:ext>
            </a:extLst>
          </p:cNvPr>
          <p:cNvSpPr txBox="1">
            <a:spLocks/>
          </p:cNvSpPr>
          <p:nvPr/>
        </p:nvSpPr>
        <p:spPr>
          <a:xfrm>
            <a:off x="751747" y="2510384"/>
            <a:ext cx="2415672" cy="25112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5C3AD7-B33A-4101-934F-8A34C75545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004" y="1320152"/>
            <a:ext cx="4906611" cy="450877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A78577C-9F7A-4F95-B674-610A973583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9346" y="1293801"/>
            <a:ext cx="5504096" cy="218994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974D27B-B708-422B-814C-18D91CB93E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3358" y="3751005"/>
            <a:ext cx="5640084" cy="2077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630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3963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Yea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10D3FF-3945-4FA2-AAA4-FDC9F96DEE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8430" y="1667245"/>
            <a:ext cx="8933782" cy="405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131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61573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onth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33476C11-7A40-41CB-AD10-B671D10B63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1310" y="1650950"/>
            <a:ext cx="8960032" cy="396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93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reative Red 1">
      <a:dk1>
        <a:srgbClr val="000000"/>
      </a:dk1>
      <a:lt1>
        <a:srgbClr val="FFFFFF"/>
      </a:lt1>
      <a:dk2>
        <a:srgbClr val="3A3A3A"/>
      </a:dk2>
      <a:lt2>
        <a:srgbClr val="E7E6E6"/>
      </a:lt2>
      <a:accent1>
        <a:srgbClr val="632423"/>
      </a:accent1>
      <a:accent2>
        <a:srgbClr val="B51200"/>
      </a:accent2>
      <a:accent3>
        <a:srgbClr val="FD1B17"/>
      </a:accent3>
      <a:accent4>
        <a:srgbClr val="F9EBE5"/>
      </a:accent4>
      <a:accent5>
        <a:srgbClr val="03C9C6"/>
      </a:accent5>
      <a:accent6>
        <a:srgbClr val="01B9D1"/>
      </a:accent6>
      <a:hlink>
        <a:srgbClr val="0563C1"/>
      </a:hlink>
      <a:folHlink>
        <a:srgbClr val="954F72"/>
      </a:folHlink>
    </a:clrScheme>
    <a:fontScheme name="Custom 76">
      <a:majorFont>
        <a:latin typeface="Bahnschrift"/>
        <a:ea typeface=""/>
        <a:cs typeface=""/>
      </a:majorFont>
      <a:minorFont>
        <a:latin typeface="Tw Cen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eative Red_Win32_AP_v3" id="{489718BF-5BA9-42DA-9832-0D6458117CDF}" vid="{B56DAA54-D084-4F49-84BA-6965B108C5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1" ma:contentTypeDescription="Create a new document." ma:contentTypeScope="" ma:versionID="64dfb1555687e0874b4304b796b5b0c7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e6e4c555b5e194d05b7203de9c4567b3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Image" minOccurs="0"/>
                <xsd:element ref="ns4:TaxCatchAll" minOccurs="0"/>
                <xsd:element ref="ns2:ImageTagsTaxHTField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22" nillable="true" ma:displayName="Image" ma:format="Image" ma:internalName="Im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/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4C50BF-B542-4C65-9576-F6A949345C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32BC193-1E5D-42CA-92FB-CB15BBE1F56A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8D1B13BD-E781-417A-B53F-0EDDA23B05B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reative red presentation</Template>
  <TotalTime>1707</TotalTime>
  <Words>349</Words>
  <Application>Microsoft Office PowerPoint</Application>
  <PresentationFormat>Widescreen</PresentationFormat>
  <Paragraphs>182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Bahnschrift</vt:lpstr>
      <vt:lpstr>Calibri</vt:lpstr>
      <vt:lpstr>Tw Cen MT</vt:lpstr>
      <vt:lpstr>Office Theme</vt:lpstr>
      <vt:lpstr>think-cell Slide</vt:lpstr>
      <vt:lpstr>SAN FRANCISCO CRIME DATA</vt:lpstr>
      <vt:lpstr>PowerPoint Presentation</vt:lpstr>
      <vt:lpstr>PowerPoint Presentation</vt:lpstr>
      <vt:lpstr>2 Preparation</vt:lpstr>
      <vt:lpstr>PowerPoint Presentation</vt:lpstr>
      <vt:lpstr>3 EXPLO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4 MODELLING</vt:lpstr>
      <vt:lpstr>PowerPoint Presentation</vt:lpstr>
      <vt:lpstr>5 EVALU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n Francisco Crime data</dc:title>
  <dc:creator>Julie M Petersen</dc:creator>
  <cp:lastModifiedBy>Julie M Petersen</cp:lastModifiedBy>
  <cp:revision>4</cp:revision>
  <dcterms:created xsi:type="dcterms:W3CDTF">2022-02-09T10:50:06Z</dcterms:created>
  <dcterms:modified xsi:type="dcterms:W3CDTF">2022-02-12T21:5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